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4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2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DB21C2-9AD5-E78E-90A2-619F10BB9A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09BC85C-DFE3-1BB7-48C9-DFB729EFBA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9BC85C-DFE3-1BB7-48C9-DFB729EFBA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FBED96-C6EE-AF03-6E5A-8611822C8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2E7B55C-2353-4335-E308-790E51F07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ree infographic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ED8E091-FAC6-90E7-9D87-0B67C0B4A80D}"/>
              </a:ext>
            </a:extLst>
          </p:cNvPr>
          <p:cNvSpPr txBox="1">
            <a:spLocks/>
          </p:cNvSpPr>
          <p:nvPr/>
        </p:nvSpPr>
        <p:spPr>
          <a:xfrm>
            <a:off x="6808654" y="1821350"/>
            <a:ext cx="1958827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solidFill>
                  <a:schemeClr val="accent2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600" b="1" dirty="0">
                <a:solidFill>
                  <a:schemeClr val="accent2"/>
                </a:solidFill>
                <a:latin typeface="+mn-lt"/>
              </a:rPr>
              <a:t> </a:t>
            </a:r>
            <a:r>
              <a:rPr lang="en-IN" sz="1800" dirty="0">
                <a:solidFill>
                  <a:schemeClr val="accent2"/>
                </a:solidFill>
                <a:latin typeface="+mn-lt"/>
              </a:rPr>
              <a:t>TITLE</a:t>
            </a:r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0D6443F-8D32-D90B-4C65-DCE0FCA5AC26}"/>
              </a:ext>
            </a:extLst>
          </p:cNvPr>
          <p:cNvSpPr txBox="1">
            <a:spLocks/>
          </p:cNvSpPr>
          <p:nvPr/>
        </p:nvSpPr>
        <p:spPr>
          <a:xfrm>
            <a:off x="7097636" y="2107064"/>
            <a:ext cx="2200713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579D5F89-E67B-4257-CC6B-11D4FD322BF3}"/>
              </a:ext>
            </a:extLst>
          </p:cNvPr>
          <p:cNvSpPr>
            <a:spLocks/>
          </p:cNvSpPr>
          <p:nvPr/>
        </p:nvSpPr>
        <p:spPr bwMode="auto">
          <a:xfrm>
            <a:off x="4859075" y="4110444"/>
            <a:ext cx="2927149" cy="2747555"/>
          </a:xfrm>
          <a:custGeom>
            <a:avLst/>
            <a:gdLst>
              <a:gd name="T0" fmla="*/ 318 w 1900"/>
              <a:gd name="T1" fmla="*/ 1924 h 1924"/>
              <a:gd name="T2" fmla="*/ 519 w 1900"/>
              <a:gd name="T3" fmla="*/ 1788 h 1924"/>
              <a:gd name="T4" fmla="*/ 724 w 1900"/>
              <a:gd name="T5" fmla="*/ 1420 h 1924"/>
              <a:gd name="T6" fmla="*/ 729 w 1900"/>
              <a:gd name="T7" fmla="*/ 1287 h 1924"/>
              <a:gd name="T8" fmla="*/ 484 w 1900"/>
              <a:gd name="T9" fmla="*/ 760 h 1924"/>
              <a:gd name="T10" fmla="*/ 0 w 1900"/>
              <a:gd name="T11" fmla="*/ 576 h 1924"/>
              <a:gd name="T12" fmla="*/ 26 w 1900"/>
              <a:gd name="T13" fmla="*/ 447 h 1924"/>
              <a:gd name="T14" fmla="*/ 492 w 1900"/>
              <a:gd name="T15" fmla="*/ 624 h 1924"/>
              <a:gd name="T16" fmla="*/ 406 w 1900"/>
              <a:gd name="T17" fmla="*/ 0 h 1924"/>
              <a:gd name="T18" fmla="*/ 534 w 1900"/>
              <a:gd name="T19" fmla="*/ 0 h 1924"/>
              <a:gd name="T20" fmla="*/ 595 w 1900"/>
              <a:gd name="T21" fmla="*/ 417 h 1924"/>
              <a:gd name="T22" fmla="*/ 632 w 1900"/>
              <a:gd name="T23" fmla="*/ 571 h 1924"/>
              <a:gd name="T24" fmla="*/ 678 w 1900"/>
              <a:gd name="T25" fmla="*/ 665 h 1924"/>
              <a:gd name="T26" fmla="*/ 678 w 1900"/>
              <a:gd name="T27" fmla="*/ 665 h 1924"/>
              <a:gd name="T28" fmla="*/ 801 w 1900"/>
              <a:gd name="T29" fmla="*/ 708 h 1924"/>
              <a:gd name="T30" fmla="*/ 801 w 1900"/>
              <a:gd name="T31" fmla="*/ 708 h 1924"/>
              <a:gd name="T32" fmla="*/ 856 w 1900"/>
              <a:gd name="T33" fmla="*/ 639 h 1924"/>
              <a:gd name="T34" fmla="*/ 894 w 1900"/>
              <a:gd name="T35" fmla="*/ 150 h 1924"/>
              <a:gd name="T36" fmla="*/ 1016 w 1900"/>
              <a:gd name="T37" fmla="*/ 146 h 1924"/>
              <a:gd name="T38" fmla="*/ 1023 w 1900"/>
              <a:gd name="T39" fmla="*/ 307 h 1924"/>
              <a:gd name="T40" fmla="*/ 1078 w 1900"/>
              <a:gd name="T41" fmla="*/ 343 h 1924"/>
              <a:gd name="T42" fmla="*/ 1093 w 1900"/>
              <a:gd name="T43" fmla="*/ 330 h 1924"/>
              <a:gd name="T44" fmla="*/ 1374 w 1900"/>
              <a:gd name="T45" fmla="*/ 44 h 1924"/>
              <a:gd name="T46" fmla="*/ 1482 w 1900"/>
              <a:gd name="T47" fmla="*/ 98 h 1924"/>
              <a:gd name="T48" fmla="*/ 1140 w 1900"/>
              <a:gd name="T49" fmla="*/ 451 h 1924"/>
              <a:gd name="T50" fmla="*/ 1077 w 1900"/>
              <a:gd name="T51" fmla="*/ 582 h 1924"/>
              <a:gd name="T52" fmla="*/ 1077 w 1900"/>
              <a:gd name="T53" fmla="*/ 582 h 1924"/>
              <a:gd name="T54" fmla="*/ 1077 w 1900"/>
              <a:gd name="T55" fmla="*/ 633 h 1924"/>
              <a:gd name="T56" fmla="*/ 1077 w 1900"/>
              <a:gd name="T57" fmla="*/ 652 h 1924"/>
              <a:gd name="T58" fmla="*/ 1138 w 1900"/>
              <a:gd name="T59" fmla="*/ 738 h 1924"/>
              <a:gd name="T60" fmla="*/ 1174 w 1900"/>
              <a:gd name="T61" fmla="*/ 726 h 1924"/>
              <a:gd name="T62" fmla="*/ 1174 w 1900"/>
              <a:gd name="T63" fmla="*/ 726 h 1924"/>
              <a:gd name="T64" fmla="*/ 1808 w 1900"/>
              <a:gd name="T65" fmla="*/ 202 h 1924"/>
              <a:gd name="T66" fmla="*/ 1828 w 1900"/>
              <a:gd name="T67" fmla="*/ 182 h 1924"/>
              <a:gd name="T68" fmla="*/ 1898 w 1900"/>
              <a:gd name="T69" fmla="*/ 312 h 1924"/>
              <a:gd name="T70" fmla="*/ 1534 w 1900"/>
              <a:gd name="T71" fmla="*/ 639 h 1924"/>
              <a:gd name="T72" fmla="*/ 1344 w 1900"/>
              <a:gd name="T73" fmla="*/ 822 h 1924"/>
              <a:gd name="T74" fmla="*/ 1344 w 1900"/>
              <a:gd name="T75" fmla="*/ 822 h 1924"/>
              <a:gd name="T76" fmla="*/ 1736 w 1900"/>
              <a:gd name="T77" fmla="*/ 740 h 1924"/>
              <a:gd name="T78" fmla="*/ 1728 w 1900"/>
              <a:gd name="T79" fmla="*/ 838 h 1924"/>
              <a:gd name="T80" fmla="*/ 1424 w 1900"/>
              <a:gd name="T81" fmla="*/ 939 h 1924"/>
              <a:gd name="T82" fmla="*/ 1213 w 1900"/>
              <a:gd name="T83" fmla="*/ 1223 h 1924"/>
              <a:gd name="T84" fmla="*/ 1213 w 1900"/>
              <a:gd name="T85" fmla="*/ 1350 h 1924"/>
              <a:gd name="T86" fmla="*/ 1437 w 1900"/>
              <a:gd name="T87" fmla="*/ 1794 h 1924"/>
              <a:gd name="T88" fmla="*/ 1612 w 1900"/>
              <a:gd name="T89" fmla="*/ 1924 h 1924"/>
              <a:gd name="T90" fmla="*/ 318 w 1900"/>
              <a:gd name="T91" fmla="*/ 1924 h 1924"/>
              <a:gd name="connsiteX0" fmla="*/ 1674 w 9989"/>
              <a:gd name="connsiteY0" fmla="*/ 10000 h 10000"/>
              <a:gd name="connsiteX1" fmla="*/ 2732 w 9989"/>
              <a:gd name="connsiteY1" fmla="*/ 9293 h 10000"/>
              <a:gd name="connsiteX2" fmla="*/ 3811 w 9989"/>
              <a:gd name="connsiteY2" fmla="*/ 7380 h 10000"/>
              <a:gd name="connsiteX3" fmla="*/ 3837 w 9989"/>
              <a:gd name="connsiteY3" fmla="*/ 6689 h 10000"/>
              <a:gd name="connsiteX4" fmla="*/ 2547 w 9989"/>
              <a:gd name="connsiteY4" fmla="*/ 3950 h 10000"/>
              <a:gd name="connsiteX5" fmla="*/ 0 w 9989"/>
              <a:gd name="connsiteY5" fmla="*/ 2994 h 10000"/>
              <a:gd name="connsiteX6" fmla="*/ 137 w 9989"/>
              <a:gd name="connsiteY6" fmla="*/ 2323 h 10000"/>
              <a:gd name="connsiteX7" fmla="*/ 2589 w 9989"/>
              <a:gd name="connsiteY7" fmla="*/ 3243 h 10000"/>
              <a:gd name="connsiteX8" fmla="*/ 2137 w 9989"/>
              <a:gd name="connsiteY8" fmla="*/ 0 h 10000"/>
              <a:gd name="connsiteX9" fmla="*/ 3132 w 9989"/>
              <a:gd name="connsiteY9" fmla="*/ 2167 h 10000"/>
              <a:gd name="connsiteX10" fmla="*/ 3326 w 9989"/>
              <a:gd name="connsiteY10" fmla="*/ 2968 h 10000"/>
              <a:gd name="connsiteX11" fmla="*/ 3568 w 9989"/>
              <a:gd name="connsiteY11" fmla="*/ 3456 h 10000"/>
              <a:gd name="connsiteX12" fmla="*/ 3568 w 9989"/>
              <a:gd name="connsiteY12" fmla="*/ 3456 h 10000"/>
              <a:gd name="connsiteX13" fmla="*/ 4216 w 9989"/>
              <a:gd name="connsiteY13" fmla="*/ 3680 h 10000"/>
              <a:gd name="connsiteX14" fmla="*/ 4216 w 9989"/>
              <a:gd name="connsiteY14" fmla="*/ 3680 h 10000"/>
              <a:gd name="connsiteX15" fmla="*/ 4505 w 9989"/>
              <a:gd name="connsiteY15" fmla="*/ 3321 h 10000"/>
              <a:gd name="connsiteX16" fmla="*/ 4705 w 9989"/>
              <a:gd name="connsiteY16" fmla="*/ 780 h 10000"/>
              <a:gd name="connsiteX17" fmla="*/ 5347 w 9989"/>
              <a:gd name="connsiteY17" fmla="*/ 759 h 10000"/>
              <a:gd name="connsiteX18" fmla="*/ 5384 w 9989"/>
              <a:gd name="connsiteY18" fmla="*/ 1596 h 10000"/>
              <a:gd name="connsiteX19" fmla="*/ 5674 w 9989"/>
              <a:gd name="connsiteY19" fmla="*/ 1783 h 10000"/>
              <a:gd name="connsiteX20" fmla="*/ 5753 w 9989"/>
              <a:gd name="connsiteY20" fmla="*/ 1715 h 10000"/>
              <a:gd name="connsiteX21" fmla="*/ 7232 w 9989"/>
              <a:gd name="connsiteY21" fmla="*/ 229 h 10000"/>
              <a:gd name="connsiteX22" fmla="*/ 7800 w 9989"/>
              <a:gd name="connsiteY22" fmla="*/ 509 h 10000"/>
              <a:gd name="connsiteX23" fmla="*/ 6000 w 9989"/>
              <a:gd name="connsiteY23" fmla="*/ 2344 h 10000"/>
              <a:gd name="connsiteX24" fmla="*/ 5668 w 9989"/>
              <a:gd name="connsiteY24" fmla="*/ 3025 h 10000"/>
              <a:gd name="connsiteX25" fmla="*/ 5668 w 9989"/>
              <a:gd name="connsiteY25" fmla="*/ 3025 h 10000"/>
              <a:gd name="connsiteX26" fmla="*/ 5668 w 9989"/>
              <a:gd name="connsiteY26" fmla="*/ 3290 h 10000"/>
              <a:gd name="connsiteX27" fmla="*/ 5668 w 9989"/>
              <a:gd name="connsiteY27" fmla="*/ 3389 h 10000"/>
              <a:gd name="connsiteX28" fmla="*/ 5989 w 9989"/>
              <a:gd name="connsiteY28" fmla="*/ 3836 h 10000"/>
              <a:gd name="connsiteX29" fmla="*/ 6179 w 9989"/>
              <a:gd name="connsiteY29" fmla="*/ 3773 h 10000"/>
              <a:gd name="connsiteX30" fmla="*/ 6179 w 9989"/>
              <a:gd name="connsiteY30" fmla="*/ 3773 h 10000"/>
              <a:gd name="connsiteX31" fmla="*/ 9516 w 9989"/>
              <a:gd name="connsiteY31" fmla="*/ 1050 h 10000"/>
              <a:gd name="connsiteX32" fmla="*/ 9621 w 9989"/>
              <a:gd name="connsiteY32" fmla="*/ 946 h 10000"/>
              <a:gd name="connsiteX33" fmla="*/ 9989 w 9989"/>
              <a:gd name="connsiteY33" fmla="*/ 1622 h 10000"/>
              <a:gd name="connsiteX34" fmla="*/ 8074 w 9989"/>
              <a:gd name="connsiteY34" fmla="*/ 3321 h 10000"/>
              <a:gd name="connsiteX35" fmla="*/ 7074 w 9989"/>
              <a:gd name="connsiteY35" fmla="*/ 4272 h 10000"/>
              <a:gd name="connsiteX36" fmla="*/ 7074 w 9989"/>
              <a:gd name="connsiteY36" fmla="*/ 4272 h 10000"/>
              <a:gd name="connsiteX37" fmla="*/ 9137 w 9989"/>
              <a:gd name="connsiteY37" fmla="*/ 3846 h 10000"/>
              <a:gd name="connsiteX38" fmla="*/ 9095 w 9989"/>
              <a:gd name="connsiteY38" fmla="*/ 4356 h 10000"/>
              <a:gd name="connsiteX39" fmla="*/ 7495 w 9989"/>
              <a:gd name="connsiteY39" fmla="*/ 4880 h 10000"/>
              <a:gd name="connsiteX40" fmla="*/ 6384 w 9989"/>
              <a:gd name="connsiteY40" fmla="*/ 6357 h 10000"/>
              <a:gd name="connsiteX41" fmla="*/ 6384 w 9989"/>
              <a:gd name="connsiteY41" fmla="*/ 7017 h 10000"/>
              <a:gd name="connsiteX42" fmla="*/ 7563 w 9989"/>
              <a:gd name="connsiteY42" fmla="*/ 9324 h 10000"/>
              <a:gd name="connsiteX43" fmla="*/ 8484 w 9989"/>
              <a:gd name="connsiteY43" fmla="*/ 10000 h 10000"/>
              <a:gd name="connsiteX44" fmla="*/ 1674 w 9989"/>
              <a:gd name="connsiteY44" fmla="*/ 10000 h 10000"/>
              <a:gd name="connsiteX0" fmla="*/ 1676 w 10000"/>
              <a:gd name="connsiteY0" fmla="*/ 9771 h 9771"/>
              <a:gd name="connsiteX1" fmla="*/ 2735 w 10000"/>
              <a:gd name="connsiteY1" fmla="*/ 9064 h 9771"/>
              <a:gd name="connsiteX2" fmla="*/ 3815 w 10000"/>
              <a:gd name="connsiteY2" fmla="*/ 7151 h 9771"/>
              <a:gd name="connsiteX3" fmla="*/ 3841 w 10000"/>
              <a:gd name="connsiteY3" fmla="*/ 6460 h 9771"/>
              <a:gd name="connsiteX4" fmla="*/ 2550 w 10000"/>
              <a:gd name="connsiteY4" fmla="*/ 3721 h 9771"/>
              <a:gd name="connsiteX5" fmla="*/ 0 w 10000"/>
              <a:gd name="connsiteY5" fmla="*/ 2765 h 9771"/>
              <a:gd name="connsiteX6" fmla="*/ 137 w 10000"/>
              <a:gd name="connsiteY6" fmla="*/ 2094 h 9771"/>
              <a:gd name="connsiteX7" fmla="*/ 2592 w 10000"/>
              <a:gd name="connsiteY7" fmla="*/ 3014 h 9771"/>
              <a:gd name="connsiteX8" fmla="*/ 3135 w 10000"/>
              <a:gd name="connsiteY8" fmla="*/ 1938 h 9771"/>
              <a:gd name="connsiteX9" fmla="*/ 3330 w 10000"/>
              <a:gd name="connsiteY9" fmla="*/ 2739 h 9771"/>
              <a:gd name="connsiteX10" fmla="*/ 3572 w 10000"/>
              <a:gd name="connsiteY10" fmla="*/ 3227 h 9771"/>
              <a:gd name="connsiteX11" fmla="*/ 3572 w 10000"/>
              <a:gd name="connsiteY11" fmla="*/ 3227 h 9771"/>
              <a:gd name="connsiteX12" fmla="*/ 4221 w 10000"/>
              <a:gd name="connsiteY12" fmla="*/ 3451 h 9771"/>
              <a:gd name="connsiteX13" fmla="*/ 4221 w 10000"/>
              <a:gd name="connsiteY13" fmla="*/ 3451 h 9771"/>
              <a:gd name="connsiteX14" fmla="*/ 4510 w 10000"/>
              <a:gd name="connsiteY14" fmla="*/ 3092 h 9771"/>
              <a:gd name="connsiteX15" fmla="*/ 4710 w 10000"/>
              <a:gd name="connsiteY15" fmla="*/ 551 h 9771"/>
              <a:gd name="connsiteX16" fmla="*/ 5353 w 10000"/>
              <a:gd name="connsiteY16" fmla="*/ 530 h 9771"/>
              <a:gd name="connsiteX17" fmla="*/ 5390 w 10000"/>
              <a:gd name="connsiteY17" fmla="*/ 1367 h 9771"/>
              <a:gd name="connsiteX18" fmla="*/ 5680 w 10000"/>
              <a:gd name="connsiteY18" fmla="*/ 1554 h 9771"/>
              <a:gd name="connsiteX19" fmla="*/ 5759 w 10000"/>
              <a:gd name="connsiteY19" fmla="*/ 1486 h 9771"/>
              <a:gd name="connsiteX20" fmla="*/ 7240 w 10000"/>
              <a:gd name="connsiteY20" fmla="*/ 0 h 9771"/>
              <a:gd name="connsiteX21" fmla="*/ 7809 w 10000"/>
              <a:gd name="connsiteY21" fmla="*/ 280 h 9771"/>
              <a:gd name="connsiteX22" fmla="*/ 6007 w 10000"/>
              <a:gd name="connsiteY22" fmla="*/ 2115 h 9771"/>
              <a:gd name="connsiteX23" fmla="*/ 5674 w 10000"/>
              <a:gd name="connsiteY23" fmla="*/ 2796 h 9771"/>
              <a:gd name="connsiteX24" fmla="*/ 5674 w 10000"/>
              <a:gd name="connsiteY24" fmla="*/ 2796 h 9771"/>
              <a:gd name="connsiteX25" fmla="*/ 5674 w 10000"/>
              <a:gd name="connsiteY25" fmla="*/ 3061 h 9771"/>
              <a:gd name="connsiteX26" fmla="*/ 5674 w 10000"/>
              <a:gd name="connsiteY26" fmla="*/ 3160 h 9771"/>
              <a:gd name="connsiteX27" fmla="*/ 5996 w 10000"/>
              <a:gd name="connsiteY27" fmla="*/ 3607 h 9771"/>
              <a:gd name="connsiteX28" fmla="*/ 6186 w 10000"/>
              <a:gd name="connsiteY28" fmla="*/ 3544 h 9771"/>
              <a:gd name="connsiteX29" fmla="*/ 6186 w 10000"/>
              <a:gd name="connsiteY29" fmla="*/ 3544 h 9771"/>
              <a:gd name="connsiteX30" fmla="*/ 9526 w 10000"/>
              <a:gd name="connsiteY30" fmla="*/ 821 h 9771"/>
              <a:gd name="connsiteX31" fmla="*/ 9632 w 10000"/>
              <a:gd name="connsiteY31" fmla="*/ 717 h 9771"/>
              <a:gd name="connsiteX32" fmla="*/ 10000 w 10000"/>
              <a:gd name="connsiteY32" fmla="*/ 1393 h 9771"/>
              <a:gd name="connsiteX33" fmla="*/ 8083 w 10000"/>
              <a:gd name="connsiteY33" fmla="*/ 3092 h 9771"/>
              <a:gd name="connsiteX34" fmla="*/ 7082 w 10000"/>
              <a:gd name="connsiteY34" fmla="*/ 4043 h 9771"/>
              <a:gd name="connsiteX35" fmla="*/ 7082 w 10000"/>
              <a:gd name="connsiteY35" fmla="*/ 4043 h 9771"/>
              <a:gd name="connsiteX36" fmla="*/ 9147 w 10000"/>
              <a:gd name="connsiteY36" fmla="*/ 3617 h 9771"/>
              <a:gd name="connsiteX37" fmla="*/ 9105 w 10000"/>
              <a:gd name="connsiteY37" fmla="*/ 4127 h 9771"/>
              <a:gd name="connsiteX38" fmla="*/ 7503 w 10000"/>
              <a:gd name="connsiteY38" fmla="*/ 4651 h 9771"/>
              <a:gd name="connsiteX39" fmla="*/ 6391 w 10000"/>
              <a:gd name="connsiteY39" fmla="*/ 6128 h 9771"/>
              <a:gd name="connsiteX40" fmla="*/ 6391 w 10000"/>
              <a:gd name="connsiteY40" fmla="*/ 6788 h 9771"/>
              <a:gd name="connsiteX41" fmla="*/ 7571 w 10000"/>
              <a:gd name="connsiteY41" fmla="*/ 9095 h 9771"/>
              <a:gd name="connsiteX42" fmla="*/ 8493 w 10000"/>
              <a:gd name="connsiteY42" fmla="*/ 9771 h 9771"/>
              <a:gd name="connsiteX43" fmla="*/ 1676 w 10000"/>
              <a:gd name="connsiteY43" fmla="*/ 9771 h 9771"/>
              <a:gd name="connsiteX0" fmla="*/ 1676 w 10000"/>
              <a:gd name="connsiteY0" fmla="*/ 10000 h 10000"/>
              <a:gd name="connsiteX1" fmla="*/ 2735 w 10000"/>
              <a:gd name="connsiteY1" fmla="*/ 9276 h 10000"/>
              <a:gd name="connsiteX2" fmla="*/ 3815 w 10000"/>
              <a:gd name="connsiteY2" fmla="*/ 7319 h 10000"/>
              <a:gd name="connsiteX3" fmla="*/ 3841 w 10000"/>
              <a:gd name="connsiteY3" fmla="*/ 6611 h 10000"/>
              <a:gd name="connsiteX4" fmla="*/ 2550 w 10000"/>
              <a:gd name="connsiteY4" fmla="*/ 3808 h 10000"/>
              <a:gd name="connsiteX5" fmla="*/ 0 w 10000"/>
              <a:gd name="connsiteY5" fmla="*/ 2830 h 10000"/>
              <a:gd name="connsiteX6" fmla="*/ 137 w 10000"/>
              <a:gd name="connsiteY6" fmla="*/ 2143 h 10000"/>
              <a:gd name="connsiteX7" fmla="*/ 2592 w 10000"/>
              <a:gd name="connsiteY7" fmla="*/ 3085 h 10000"/>
              <a:gd name="connsiteX8" fmla="*/ 3330 w 10000"/>
              <a:gd name="connsiteY8" fmla="*/ 2803 h 10000"/>
              <a:gd name="connsiteX9" fmla="*/ 3572 w 10000"/>
              <a:gd name="connsiteY9" fmla="*/ 3303 h 10000"/>
              <a:gd name="connsiteX10" fmla="*/ 3572 w 10000"/>
              <a:gd name="connsiteY10" fmla="*/ 3303 h 10000"/>
              <a:gd name="connsiteX11" fmla="*/ 4221 w 10000"/>
              <a:gd name="connsiteY11" fmla="*/ 3532 h 10000"/>
              <a:gd name="connsiteX12" fmla="*/ 4221 w 10000"/>
              <a:gd name="connsiteY12" fmla="*/ 3532 h 10000"/>
              <a:gd name="connsiteX13" fmla="*/ 4510 w 10000"/>
              <a:gd name="connsiteY13" fmla="*/ 3164 h 10000"/>
              <a:gd name="connsiteX14" fmla="*/ 4710 w 10000"/>
              <a:gd name="connsiteY14" fmla="*/ 564 h 10000"/>
              <a:gd name="connsiteX15" fmla="*/ 5353 w 10000"/>
              <a:gd name="connsiteY15" fmla="*/ 542 h 10000"/>
              <a:gd name="connsiteX16" fmla="*/ 5390 w 10000"/>
              <a:gd name="connsiteY16" fmla="*/ 1399 h 10000"/>
              <a:gd name="connsiteX17" fmla="*/ 5680 w 10000"/>
              <a:gd name="connsiteY17" fmla="*/ 1590 h 10000"/>
              <a:gd name="connsiteX18" fmla="*/ 5759 w 10000"/>
              <a:gd name="connsiteY18" fmla="*/ 1521 h 10000"/>
              <a:gd name="connsiteX19" fmla="*/ 7240 w 10000"/>
              <a:gd name="connsiteY19" fmla="*/ 0 h 10000"/>
              <a:gd name="connsiteX20" fmla="*/ 7809 w 10000"/>
              <a:gd name="connsiteY20" fmla="*/ 287 h 10000"/>
              <a:gd name="connsiteX21" fmla="*/ 6007 w 10000"/>
              <a:gd name="connsiteY21" fmla="*/ 2165 h 10000"/>
              <a:gd name="connsiteX22" fmla="*/ 5674 w 10000"/>
              <a:gd name="connsiteY22" fmla="*/ 2862 h 10000"/>
              <a:gd name="connsiteX23" fmla="*/ 5674 w 10000"/>
              <a:gd name="connsiteY23" fmla="*/ 2862 h 10000"/>
              <a:gd name="connsiteX24" fmla="*/ 5674 w 10000"/>
              <a:gd name="connsiteY24" fmla="*/ 3133 h 10000"/>
              <a:gd name="connsiteX25" fmla="*/ 5674 w 10000"/>
              <a:gd name="connsiteY25" fmla="*/ 3234 h 10000"/>
              <a:gd name="connsiteX26" fmla="*/ 5996 w 10000"/>
              <a:gd name="connsiteY26" fmla="*/ 3692 h 10000"/>
              <a:gd name="connsiteX27" fmla="*/ 6186 w 10000"/>
              <a:gd name="connsiteY27" fmla="*/ 3627 h 10000"/>
              <a:gd name="connsiteX28" fmla="*/ 6186 w 10000"/>
              <a:gd name="connsiteY28" fmla="*/ 3627 h 10000"/>
              <a:gd name="connsiteX29" fmla="*/ 9526 w 10000"/>
              <a:gd name="connsiteY29" fmla="*/ 840 h 10000"/>
              <a:gd name="connsiteX30" fmla="*/ 9632 w 10000"/>
              <a:gd name="connsiteY30" fmla="*/ 734 h 10000"/>
              <a:gd name="connsiteX31" fmla="*/ 10000 w 10000"/>
              <a:gd name="connsiteY31" fmla="*/ 1426 h 10000"/>
              <a:gd name="connsiteX32" fmla="*/ 8083 w 10000"/>
              <a:gd name="connsiteY32" fmla="*/ 3164 h 10000"/>
              <a:gd name="connsiteX33" fmla="*/ 7082 w 10000"/>
              <a:gd name="connsiteY33" fmla="*/ 4138 h 10000"/>
              <a:gd name="connsiteX34" fmla="*/ 7082 w 10000"/>
              <a:gd name="connsiteY34" fmla="*/ 4138 h 10000"/>
              <a:gd name="connsiteX35" fmla="*/ 9147 w 10000"/>
              <a:gd name="connsiteY35" fmla="*/ 3702 h 10000"/>
              <a:gd name="connsiteX36" fmla="*/ 9105 w 10000"/>
              <a:gd name="connsiteY36" fmla="*/ 4224 h 10000"/>
              <a:gd name="connsiteX37" fmla="*/ 7503 w 10000"/>
              <a:gd name="connsiteY37" fmla="*/ 4760 h 10000"/>
              <a:gd name="connsiteX38" fmla="*/ 6391 w 10000"/>
              <a:gd name="connsiteY38" fmla="*/ 6272 h 10000"/>
              <a:gd name="connsiteX39" fmla="*/ 6391 w 10000"/>
              <a:gd name="connsiteY39" fmla="*/ 6947 h 10000"/>
              <a:gd name="connsiteX40" fmla="*/ 7571 w 10000"/>
              <a:gd name="connsiteY40" fmla="*/ 9308 h 10000"/>
              <a:gd name="connsiteX41" fmla="*/ 8493 w 10000"/>
              <a:gd name="connsiteY41" fmla="*/ 10000 h 10000"/>
              <a:gd name="connsiteX42" fmla="*/ 1676 w 10000"/>
              <a:gd name="connsiteY42" fmla="*/ 10000 h 10000"/>
              <a:gd name="connsiteX0" fmla="*/ 1676 w 10000"/>
              <a:gd name="connsiteY0" fmla="*/ 10000 h 10000"/>
              <a:gd name="connsiteX1" fmla="*/ 2735 w 10000"/>
              <a:gd name="connsiteY1" fmla="*/ 9276 h 10000"/>
              <a:gd name="connsiteX2" fmla="*/ 3815 w 10000"/>
              <a:gd name="connsiteY2" fmla="*/ 7319 h 10000"/>
              <a:gd name="connsiteX3" fmla="*/ 3841 w 10000"/>
              <a:gd name="connsiteY3" fmla="*/ 6611 h 10000"/>
              <a:gd name="connsiteX4" fmla="*/ 2550 w 10000"/>
              <a:gd name="connsiteY4" fmla="*/ 3808 h 10000"/>
              <a:gd name="connsiteX5" fmla="*/ 0 w 10000"/>
              <a:gd name="connsiteY5" fmla="*/ 2830 h 10000"/>
              <a:gd name="connsiteX6" fmla="*/ 137 w 10000"/>
              <a:gd name="connsiteY6" fmla="*/ 2143 h 10000"/>
              <a:gd name="connsiteX7" fmla="*/ 2592 w 10000"/>
              <a:gd name="connsiteY7" fmla="*/ 3085 h 10000"/>
              <a:gd name="connsiteX8" fmla="*/ 3572 w 10000"/>
              <a:gd name="connsiteY8" fmla="*/ 3303 h 10000"/>
              <a:gd name="connsiteX9" fmla="*/ 3572 w 10000"/>
              <a:gd name="connsiteY9" fmla="*/ 3303 h 10000"/>
              <a:gd name="connsiteX10" fmla="*/ 4221 w 10000"/>
              <a:gd name="connsiteY10" fmla="*/ 3532 h 10000"/>
              <a:gd name="connsiteX11" fmla="*/ 4221 w 10000"/>
              <a:gd name="connsiteY11" fmla="*/ 3532 h 10000"/>
              <a:gd name="connsiteX12" fmla="*/ 4510 w 10000"/>
              <a:gd name="connsiteY12" fmla="*/ 3164 h 10000"/>
              <a:gd name="connsiteX13" fmla="*/ 4710 w 10000"/>
              <a:gd name="connsiteY13" fmla="*/ 564 h 10000"/>
              <a:gd name="connsiteX14" fmla="*/ 5353 w 10000"/>
              <a:gd name="connsiteY14" fmla="*/ 542 h 10000"/>
              <a:gd name="connsiteX15" fmla="*/ 5390 w 10000"/>
              <a:gd name="connsiteY15" fmla="*/ 1399 h 10000"/>
              <a:gd name="connsiteX16" fmla="*/ 5680 w 10000"/>
              <a:gd name="connsiteY16" fmla="*/ 1590 h 10000"/>
              <a:gd name="connsiteX17" fmla="*/ 5759 w 10000"/>
              <a:gd name="connsiteY17" fmla="*/ 1521 h 10000"/>
              <a:gd name="connsiteX18" fmla="*/ 7240 w 10000"/>
              <a:gd name="connsiteY18" fmla="*/ 0 h 10000"/>
              <a:gd name="connsiteX19" fmla="*/ 7809 w 10000"/>
              <a:gd name="connsiteY19" fmla="*/ 287 h 10000"/>
              <a:gd name="connsiteX20" fmla="*/ 6007 w 10000"/>
              <a:gd name="connsiteY20" fmla="*/ 2165 h 10000"/>
              <a:gd name="connsiteX21" fmla="*/ 5674 w 10000"/>
              <a:gd name="connsiteY21" fmla="*/ 2862 h 10000"/>
              <a:gd name="connsiteX22" fmla="*/ 5674 w 10000"/>
              <a:gd name="connsiteY22" fmla="*/ 2862 h 10000"/>
              <a:gd name="connsiteX23" fmla="*/ 5674 w 10000"/>
              <a:gd name="connsiteY23" fmla="*/ 3133 h 10000"/>
              <a:gd name="connsiteX24" fmla="*/ 5674 w 10000"/>
              <a:gd name="connsiteY24" fmla="*/ 3234 h 10000"/>
              <a:gd name="connsiteX25" fmla="*/ 5996 w 10000"/>
              <a:gd name="connsiteY25" fmla="*/ 3692 h 10000"/>
              <a:gd name="connsiteX26" fmla="*/ 6186 w 10000"/>
              <a:gd name="connsiteY26" fmla="*/ 3627 h 10000"/>
              <a:gd name="connsiteX27" fmla="*/ 6186 w 10000"/>
              <a:gd name="connsiteY27" fmla="*/ 3627 h 10000"/>
              <a:gd name="connsiteX28" fmla="*/ 9526 w 10000"/>
              <a:gd name="connsiteY28" fmla="*/ 840 h 10000"/>
              <a:gd name="connsiteX29" fmla="*/ 9632 w 10000"/>
              <a:gd name="connsiteY29" fmla="*/ 734 h 10000"/>
              <a:gd name="connsiteX30" fmla="*/ 10000 w 10000"/>
              <a:gd name="connsiteY30" fmla="*/ 1426 h 10000"/>
              <a:gd name="connsiteX31" fmla="*/ 8083 w 10000"/>
              <a:gd name="connsiteY31" fmla="*/ 3164 h 10000"/>
              <a:gd name="connsiteX32" fmla="*/ 7082 w 10000"/>
              <a:gd name="connsiteY32" fmla="*/ 4138 h 10000"/>
              <a:gd name="connsiteX33" fmla="*/ 7082 w 10000"/>
              <a:gd name="connsiteY33" fmla="*/ 4138 h 10000"/>
              <a:gd name="connsiteX34" fmla="*/ 9147 w 10000"/>
              <a:gd name="connsiteY34" fmla="*/ 3702 h 10000"/>
              <a:gd name="connsiteX35" fmla="*/ 9105 w 10000"/>
              <a:gd name="connsiteY35" fmla="*/ 4224 h 10000"/>
              <a:gd name="connsiteX36" fmla="*/ 7503 w 10000"/>
              <a:gd name="connsiteY36" fmla="*/ 4760 h 10000"/>
              <a:gd name="connsiteX37" fmla="*/ 6391 w 10000"/>
              <a:gd name="connsiteY37" fmla="*/ 6272 h 10000"/>
              <a:gd name="connsiteX38" fmla="*/ 6391 w 10000"/>
              <a:gd name="connsiteY38" fmla="*/ 6947 h 10000"/>
              <a:gd name="connsiteX39" fmla="*/ 7571 w 10000"/>
              <a:gd name="connsiteY39" fmla="*/ 9308 h 10000"/>
              <a:gd name="connsiteX40" fmla="*/ 8493 w 10000"/>
              <a:gd name="connsiteY40" fmla="*/ 10000 h 10000"/>
              <a:gd name="connsiteX41" fmla="*/ 1676 w 10000"/>
              <a:gd name="connsiteY41" fmla="*/ 10000 h 10000"/>
              <a:gd name="connsiteX0" fmla="*/ 1676 w 10000"/>
              <a:gd name="connsiteY0" fmla="*/ 9713 h 9713"/>
              <a:gd name="connsiteX1" fmla="*/ 2735 w 10000"/>
              <a:gd name="connsiteY1" fmla="*/ 8989 h 9713"/>
              <a:gd name="connsiteX2" fmla="*/ 3815 w 10000"/>
              <a:gd name="connsiteY2" fmla="*/ 7032 h 9713"/>
              <a:gd name="connsiteX3" fmla="*/ 3841 w 10000"/>
              <a:gd name="connsiteY3" fmla="*/ 6324 h 9713"/>
              <a:gd name="connsiteX4" fmla="*/ 2550 w 10000"/>
              <a:gd name="connsiteY4" fmla="*/ 3521 h 9713"/>
              <a:gd name="connsiteX5" fmla="*/ 0 w 10000"/>
              <a:gd name="connsiteY5" fmla="*/ 2543 h 9713"/>
              <a:gd name="connsiteX6" fmla="*/ 137 w 10000"/>
              <a:gd name="connsiteY6" fmla="*/ 1856 h 9713"/>
              <a:gd name="connsiteX7" fmla="*/ 2592 w 10000"/>
              <a:gd name="connsiteY7" fmla="*/ 2798 h 9713"/>
              <a:gd name="connsiteX8" fmla="*/ 3572 w 10000"/>
              <a:gd name="connsiteY8" fmla="*/ 3016 h 9713"/>
              <a:gd name="connsiteX9" fmla="*/ 3572 w 10000"/>
              <a:gd name="connsiteY9" fmla="*/ 3016 h 9713"/>
              <a:gd name="connsiteX10" fmla="*/ 4221 w 10000"/>
              <a:gd name="connsiteY10" fmla="*/ 3245 h 9713"/>
              <a:gd name="connsiteX11" fmla="*/ 4221 w 10000"/>
              <a:gd name="connsiteY11" fmla="*/ 3245 h 9713"/>
              <a:gd name="connsiteX12" fmla="*/ 4510 w 10000"/>
              <a:gd name="connsiteY12" fmla="*/ 2877 h 9713"/>
              <a:gd name="connsiteX13" fmla="*/ 4710 w 10000"/>
              <a:gd name="connsiteY13" fmla="*/ 277 h 9713"/>
              <a:gd name="connsiteX14" fmla="*/ 5353 w 10000"/>
              <a:gd name="connsiteY14" fmla="*/ 255 h 9713"/>
              <a:gd name="connsiteX15" fmla="*/ 5390 w 10000"/>
              <a:gd name="connsiteY15" fmla="*/ 1112 h 9713"/>
              <a:gd name="connsiteX16" fmla="*/ 5680 w 10000"/>
              <a:gd name="connsiteY16" fmla="*/ 1303 h 9713"/>
              <a:gd name="connsiteX17" fmla="*/ 5759 w 10000"/>
              <a:gd name="connsiteY17" fmla="*/ 1234 h 9713"/>
              <a:gd name="connsiteX18" fmla="*/ 7809 w 10000"/>
              <a:gd name="connsiteY18" fmla="*/ 0 h 9713"/>
              <a:gd name="connsiteX19" fmla="*/ 6007 w 10000"/>
              <a:gd name="connsiteY19" fmla="*/ 1878 h 9713"/>
              <a:gd name="connsiteX20" fmla="*/ 5674 w 10000"/>
              <a:gd name="connsiteY20" fmla="*/ 2575 h 9713"/>
              <a:gd name="connsiteX21" fmla="*/ 5674 w 10000"/>
              <a:gd name="connsiteY21" fmla="*/ 2575 h 9713"/>
              <a:gd name="connsiteX22" fmla="*/ 5674 w 10000"/>
              <a:gd name="connsiteY22" fmla="*/ 2846 h 9713"/>
              <a:gd name="connsiteX23" fmla="*/ 5674 w 10000"/>
              <a:gd name="connsiteY23" fmla="*/ 2947 h 9713"/>
              <a:gd name="connsiteX24" fmla="*/ 5996 w 10000"/>
              <a:gd name="connsiteY24" fmla="*/ 3405 h 9713"/>
              <a:gd name="connsiteX25" fmla="*/ 6186 w 10000"/>
              <a:gd name="connsiteY25" fmla="*/ 3340 h 9713"/>
              <a:gd name="connsiteX26" fmla="*/ 6186 w 10000"/>
              <a:gd name="connsiteY26" fmla="*/ 3340 h 9713"/>
              <a:gd name="connsiteX27" fmla="*/ 9526 w 10000"/>
              <a:gd name="connsiteY27" fmla="*/ 553 h 9713"/>
              <a:gd name="connsiteX28" fmla="*/ 9632 w 10000"/>
              <a:gd name="connsiteY28" fmla="*/ 447 h 9713"/>
              <a:gd name="connsiteX29" fmla="*/ 10000 w 10000"/>
              <a:gd name="connsiteY29" fmla="*/ 1139 h 9713"/>
              <a:gd name="connsiteX30" fmla="*/ 8083 w 10000"/>
              <a:gd name="connsiteY30" fmla="*/ 2877 h 9713"/>
              <a:gd name="connsiteX31" fmla="*/ 7082 w 10000"/>
              <a:gd name="connsiteY31" fmla="*/ 3851 h 9713"/>
              <a:gd name="connsiteX32" fmla="*/ 7082 w 10000"/>
              <a:gd name="connsiteY32" fmla="*/ 3851 h 9713"/>
              <a:gd name="connsiteX33" fmla="*/ 9147 w 10000"/>
              <a:gd name="connsiteY33" fmla="*/ 3415 h 9713"/>
              <a:gd name="connsiteX34" fmla="*/ 9105 w 10000"/>
              <a:gd name="connsiteY34" fmla="*/ 3937 h 9713"/>
              <a:gd name="connsiteX35" fmla="*/ 7503 w 10000"/>
              <a:gd name="connsiteY35" fmla="*/ 4473 h 9713"/>
              <a:gd name="connsiteX36" fmla="*/ 6391 w 10000"/>
              <a:gd name="connsiteY36" fmla="*/ 5985 h 9713"/>
              <a:gd name="connsiteX37" fmla="*/ 6391 w 10000"/>
              <a:gd name="connsiteY37" fmla="*/ 6660 h 9713"/>
              <a:gd name="connsiteX38" fmla="*/ 7571 w 10000"/>
              <a:gd name="connsiteY38" fmla="*/ 9021 h 9713"/>
              <a:gd name="connsiteX39" fmla="*/ 8493 w 10000"/>
              <a:gd name="connsiteY39" fmla="*/ 9713 h 9713"/>
              <a:gd name="connsiteX40" fmla="*/ 1676 w 10000"/>
              <a:gd name="connsiteY40" fmla="*/ 9713 h 9713"/>
              <a:gd name="connsiteX0" fmla="*/ 1676 w 10000"/>
              <a:gd name="connsiteY0" fmla="*/ 9737 h 9737"/>
              <a:gd name="connsiteX1" fmla="*/ 2735 w 10000"/>
              <a:gd name="connsiteY1" fmla="*/ 8992 h 9737"/>
              <a:gd name="connsiteX2" fmla="*/ 3815 w 10000"/>
              <a:gd name="connsiteY2" fmla="*/ 6977 h 9737"/>
              <a:gd name="connsiteX3" fmla="*/ 3841 w 10000"/>
              <a:gd name="connsiteY3" fmla="*/ 6248 h 9737"/>
              <a:gd name="connsiteX4" fmla="*/ 2550 w 10000"/>
              <a:gd name="connsiteY4" fmla="*/ 3362 h 9737"/>
              <a:gd name="connsiteX5" fmla="*/ 0 w 10000"/>
              <a:gd name="connsiteY5" fmla="*/ 2355 h 9737"/>
              <a:gd name="connsiteX6" fmla="*/ 137 w 10000"/>
              <a:gd name="connsiteY6" fmla="*/ 1648 h 9737"/>
              <a:gd name="connsiteX7" fmla="*/ 2592 w 10000"/>
              <a:gd name="connsiteY7" fmla="*/ 2618 h 9737"/>
              <a:gd name="connsiteX8" fmla="*/ 3572 w 10000"/>
              <a:gd name="connsiteY8" fmla="*/ 2842 h 9737"/>
              <a:gd name="connsiteX9" fmla="*/ 3572 w 10000"/>
              <a:gd name="connsiteY9" fmla="*/ 2842 h 9737"/>
              <a:gd name="connsiteX10" fmla="*/ 4221 w 10000"/>
              <a:gd name="connsiteY10" fmla="*/ 3078 h 9737"/>
              <a:gd name="connsiteX11" fmla="*/ 4221 w 10000"/>
              <a:gd name="connsiteY11" fmla="*/ 3078 h 9737"/>
              <a:gd name="connsiteX12" fmla="*/ 4510 w 10000"/>
              <a:gd name="connsiteY12" fmla="*/ 2699 h 9737"/>
              <a:gd name="connsiteX13" fmla="*/ 4710 w 10000"/>
              <a:gd name="connsiteY13" fmla="*/ 22 h 9737"/>
              <a:gd name="connsiteX14" fmla="*/ 5353 w 10000"/>
              <a:gd name="connsiteY14" fmla="*/ 0 h 9737"/>
              <a:gd name="connsiteX15" fmla="*/ 5390 w 10000"/>
              <a:gd name="connsiteY15" fmla="*/ 882 h 9737"/>
              <a:gd name="connsiteX16" fmla="*/ 5680 w 10000"/>
              <a:gd name="connsiteY16" fmla="*/ 1079 h 9737"/>
              <a:gd name="connsiteX17" fmla="*/ 5759 w 10000"/>
              <a:gd name="connsiteY17" fmla="*/ 1007 h 9737"/>
              <a:gd name="connsiteX18" fmla="*/ 6007 w 10000"/>
              <a:gd name="connsiteY18" fmla="*/ 1670 h 9737"/>
              <a:gd name="connsiteX19" fmla="*/ 5674 w 10000"/>
              <a:gd name="connsiteY19" fmla="*/ 2388 h 9737"/>
              <a:gd name="connsiteX20" fmla="*/ 5674 w 10000"/>
              <a:gd name="connsiteY20" fmla="*/ 2388 h 9737"/>
              <a:gd name="connsiteX21" fmla="*/ 5674 w 10000"/>
              <a:gd name="connsiteY21" fmla="*/ 2667 h 9737"/>
              <a:gd name="connsiteX22" fmla="*/ 5674 w 10000"/>
              <a:gd name="connsiteY22" fmla="*/ 2771 h 9737"/>
              <a:gd name="connsiteX23" fmla="*/ 5996 w 10000"/>
              <a:gd name="connsiteY23" fmla="*/ 3243 h 9737"/>
              <a:gd name="connsiteX24" fmla="*/ 6186 w 10000"/>
              <a:gd name="connsiteY24" fmla="*/ 3176 h 9737"/>
              <a:gd name="connsiteX25" fmla="*/ 6186 w 10000"/>
              <a:gd name="connsiteY25" fmla="*/ 3176 h 9737"/>
              <a:gd name="connsiteX26" fmla="*/ 9526 w 10000"/>
              <a:gd name="connsiteY26" fmla="*/ 306 h 9737"/>
              <a:gd name="connsiteX27" fmla="*/ 9632 w 10000"/>
              <a:gd name="connsiteY27" fmla="*/ 197 h 9737"/>
              <a:gd name="connsiteX28" fmla="*/ 10000 w 10000"/>
              <a:gd name="connsiteY28" fmla="*/ 910 h 9737"/>
              <a:gd name="connsiteX29" fmla="*/ 8083 w 10000"/>
              <a:gd name="connsiteY29" fmla="*/ 2699 h 9737"/>
              <a:gd name="connsiteX30" fmla="*/ 7082 w 10000"/>
              <a:gd name="connsiteY30" fmla="*/ 3702 h 9737"/>
              <a:gd name="connsiteX31" fmla="*/ 7082 w 10000"/>
              <a:gd name="connsiteY31" fmla="*/ 3702 h 9737"/>
              <a:gd name="connsiteX32" fmla="*/ 9147 w 10000"/>
              <a:gd name="connsiteY32" fmla="*/ 3253 h 9737"/>
              <a:gd name="connsiteX33" fmla="*/ 9105 w 10000"/>
              <a:gd name="connsiteY33" fmla="*/ 3790 h 9737"/>
              <a:gd name="connsiteX34" fmla="*/ 7503 w 10000"/>
              <a:gd name="connsiteY34" fmla="*/ 4342 h 9737"/>
              <a:gd name="connsiteX35" fmla="*/ 6391 w 10000"/>
              <a:gd name="connsiteY35" fmla="*/ 5899 h 9737"/>
              <a:gd name="connsiteX36" fmla="*/ 6391 w 10000"/>
              <a:gd name="connsiteY36" fmla="*/ 6594 h 9737"/>
              <a:gd name="connsiteX37" fmla="*/ 7571 w 10000"/>
              <a:gd name="connsiteY37" fmla="*/ 9025 h 9737"/>
              <a:gd name="connsiteX38" fmla="*/ 8493 w 10000"/>
              <a:gd name="connsiteY38" fmla="*/ 9737 h 9737"/>
              <a:gd name="connsiteX39" fmla="*/ 1676 w 10000"/>
              <a:gd name="connsiteY39" fmla="*/ 9737 h 9737"/>
              <a:gd name="connsiteX0" fmla="*/ 1676 w 10000"/>
              <a:gd name="connsiteY0" fmla="*/ 10000 h 10000"/>
              <a:gd name="connsiteX1" fmla="*/ 2735 w 10000"/>
              <a:gd name="connsiteY1" fmla="*/ 9235 h 10000"/>
              <a:gd name="connsiteX2" fmla="*/ 3815 w 10000"/>
              <a:gd name="connsiteY2" fmla="*/ 7165 h 10000"/>
              <a:gd name="connsiteX3" fmla="*/ 3841 w 10000"/>
              <a:gd name="connsiteY3" fmla="*/ 6417 h 10000"/>
              <a:gd name="connsiteX4" fmla="*/ 2550 w 10000"/>
              <a:gd name="connsiteY4" fmla="*/ 3453 h 10000"/>
              <a:gd name="connsiteX5" fmla="*/ 0 w 10000"/>
              <a:gd name="connsiteY5" fmla="*/ 2419 h 10000"/>
              <a:gd name="connsiteX6" fmla="*/ 137 w 10000"/>
              <a:gd name="connsiteY6" fmla="*/ 1693 h 10000"/>
              <a:gd name="connsiteX7" fmla="*/ 2592 w 10000"/>
              <a:gd name="connsiteY7" fmla="*/ 2689 h 10000"/>
              <a:gd name="connsiteX8" fmla="*/ 3572 w 10000"/>
              <a:gd name="connsiteY8" fmla="*/ 2919 h 10000"/>
              <a:gd name="connsiteX9" fmla="*/ 3572 w 10000"/>
              <a:gd name="connsiteY9" fmla="*/ 2919 h 10000"/>
              <a:gd name="connsiteX10" fmla="*/ 4221 w 10000"/>
              <a:gd name="connsiteY10" fmla="*/ 3161 h 10000"/>
              <a:gd name="connsiteX11" fmla="*/ 4221 w 10000"/>
              <a:gd name="connsiteY11" fmla="*/ 3161 h 10000"/>
              <a:gd name="connsiteX12" fmla="*/ 4510 w 10000"/>
              <a:gd name="connsiteY12" fmla="*/ 2772 h 10000"/>
              <a:gd name="connsiteX13" fmla="*/ 4710 w 10000"/>
              <a:gd name="connsiteY13" fmla="*/ 23 h 10000"/>
              <a:gd name="connsiteX14" fmla="*/ 5353 w 10000"/>
              <a:gd name="connsiteY14" fmla="*/ 0 h 10000"/>
              <a:gd name="connsiteX15" fmla="*/ 5390 w 10000"/>
              <a:gd name="connsiteY15" fmla="*/ 906 h 10000"/>
              <a:gd name="connsiteX16" fmla="*/ 5680 w 10000"/>
              <a:gd name="connsiteY16" fmla="*/ 1108 h 10000"/>
              <a:gd name="connsiteX17" fmla="*/ 5759 w 10000"/>
              <a:gd name="connsiteY17" fmla="*/ 1034 h 10000"/>
              <a:gd name="connsiteX18" fmla="*/ 5674 w 10000"/>
              <a:gd name="connsiteY18" fmla="*/ 2453 h 10000"/>
              <a:gd name="connsiteX19" fmla="*/ 5674 w 10000"/>
              <a:gd name="connsiteY19" fmla="*/ 2453 h 10000"/>
              <a:gd name="connsiteX20" fmla="*/ 5674 w 10000"/>
              <a:gd name="connsiteY20" fmla="*/ 2739 h 10000"/>
              <a:gd name="connsiteX21" fmla="*/ 5674 w 10000"/>
              <a:gd name="connsiteY21" fmla="*/ 2846 h 10000"/>
              <a:gd name="connsiteX22" fmla="*/ 5996 w 10000"/>
              <a:gd name="connsiteY22" fmla="*/ 3331 h 10000"/>
              <a:gd name="connsiteX23" fmla="*/ 6186 w 10000"/>
              <a:gd name="connsiteY23" fmla="*/ 3262 h 10000"/>
              <a:gd name="connsiteX24" fmla="*/ 6186 w 10000"/>
              <a:gd name="connsiteY24" fmla="*/ 3262 h 10000"/>
              <a:gd name="connsiteX25" fmla="*/ 9526 w 10000"/>
              <a:gd name="connsiteY25" fmla="*/ 314 h 10000"/>
              <a:gd name="connsiteX26" fmla="*/ 9632 w 10000"/>
              <a:gd name="connsiteY26" fmla="*/ 202 h 10000"/>
              <a:gd name="connsiteX27" fmla="*/ 10000 w 10000"/>
              <a:gd name="connsiteY27" fmla="*/ 935 h 10000"/>
              <a:gd name="connsiteX28" fmla="*/ 8083 w 10000"/>
              <a:gd name="connsiteY28" fmla="*/ 2772 h 10000"/>
              <a:gd name="connsiteX29" fmla="*/ 7082 w 10000"/>
              <a:gd name="connsiteY29" fmla="*/ 3802 h 10000"/>
              <a:gd name="connsiteX30" fmla="*/ 7082 w 10000"/>
              <a:gd name="connsiteY30" fmla="*/ 3802 h 10000"/>
              <a:gd name="connsiteX31" fmla="*/ 9147 w 10000"/>
              <a:gd name="connsiteY31" fmla="*/ 3341 h 10000"/>
              <a:gd name="connsiteX32" fmla="*/ 9105 w 10000"/>
              <a:gd name="connsiteY32" fmla="*/ 3892 h 10000"/>
              <a:gd name="connsiteX33" fmla="*/ 7503 w 10000"/>
              <a:gd name="connsiteY33" fmla="*/ 4459 h 10000"/>
              <a:gd name="connsiteX34" fmla="*/ 6391 w 10000"/>
              <a:gd name="connsiteY34" fmla="*/ 6058 h 10000"/>
              <a:gd name="connsiteX35" fmla="*/ 6391 w 10000"/>
              <a:gd name="connsiteY35" fmla="*/ 6772 h 10000"/>
              <a:gd name="connsiteX36" fmla="*/ 7571 w 10000"/>
              <a:gd name="connsiteY36" fmla="*/ 9269 h 10000"/>
              <a:gd name="connsiteX37" fmla="*/ 8493 w 10000"/>
              <a:gd name="connsiteY37" fmla="*/ 10000 h 10000"/>
              <a:gd name="connsiteX38" fmla="*/ 1676 w 10000"/>
              <a:gd name="connsiteY38" fmla="*/ 10000 h 10000"/>
              <a:gd name="connsiteX0" fmla="*/ 1676 w 10000"/>
              <a:gd name="connsiteY0" fmla="*/ 10000 h 10000"/>
              <a:gd name="connsiteX1" fmla="*/ 2735 w 10000"/>
              <a:gd name="connsiteY1" fmla="*/ 9235 h 10000"/>
              <a:gd name="connsiteX2" fmla="*/ 3815 w 10000"/>
              <a:gd name="connsiteY2" fmla="*/ 7165 h 10000"/>
              <a:gd name="connsiteX3" fmla="*/ 3841 w 10000"/>
              <a:gd name="connsiteY3" fmla="*/ 6417 h 10000"/>
              <a:gd name="connsiteX4" fmla="*/ 2550 w 10000"/>
              <a:gd name="connsiteY4" fmla="*/ 3453 h 10000"/>
              <a:gd name="connsiteX5" fmla="*/ 0 w 10000"/>
              <a:gd name="connsiteY5" fmla="*/ 2419 h 10000"/>
              <a:gd name="connsiteX6" fmla="*/ 137 w 10000"/>
              <a:gd name="connsiteY6" fmla="*/ 1693 h 10000"/>
              <a:gd name="connsiteX7" fmla="*/ 2592 w 10000"/>
              <a:gd name="connsiteY7" fmla="*/ 2689 h 10000"/>
              <a:gd name="connsiteX8" fmla="*/ 3572 w 10000"/>
              <a:gd name="connsiteY8" fmla="*/ 2919 h 10000"/>
              <a:gd name="connsiteX9" fmla="*/ 3572 w 10000"/>
              <a:gd name="connsiteY9" fmla="*/ 2919 h 10000"/>
              <a:gd name="connsiteX10" fmla="*/ 4221 w 10000"/>
              <a:gd name="connsiteY10" fmla="*/ 3161 h 10000"/>
              <a:gd name="connsiteX11" fmla="*/ 4221 w 10000"/>
              <a:gd name="connsiteY11" fmla="*/ 3161 h 10000"/>
              <a:gd name="connsiteX12" fmla="*/ 4510 w 10000"/>
              <a:gd name="connsiteY12" fmla="*/ 2772 h 10000"/>
              <a:gd name="connsiteX13" fmla="*/ 4710 w 10000"/>
              <a:gd name="connsiteY13" fmla="*/ 23 h 10000"/>
              <a:gd name="connsiteX14" fmla="*/ 5353 w 10000"/>
              <a:gd name="connsiteY14" fmla="*/ 0 h 10000"/>
              <a:gd name="connsiteX15" fmla="*/ 5390 w 10000"/>
              <a:gd name="connsiteY15" fmla="*/ 906 h 10000"/>
              <a:gd name="connsiteX16" fmla="*/ 5680 w 10000"/>
              <a:gd name="connsiteY16" fmla="*/ 1108 h 10000"/>
              <a:gd name="connsiteX17" fmla="*/ 5674 w 10000"/>
              <a:gd name="connsiteY17" fmla="*/ 2453 h 10000"/>
              <a:gd name="connsiteX18" fmla="*/ 5674 w 10000"/>
              <a:gd name="connsiteY18" fmla="*/ 2453 h 10000"/>
              <a:gd name="connsiteX19" fmla="*/ 5674 w 10000"/>
              <a:gd name="connsiteY19" fmla="*/ 2739 h 10000"/>
              <a:gd name="connsiteX20" fmla="*/ 5674 w 10000"/>
              <a:gd name="connsiteY20" fmla="*/ 2846 h 10000"/>
              <a:gd name="connsiteX21" fmla="*/ 5996 w 10000"/>
              <a:gd name="connsiteY21" fmla="*/ 3331 h 10000"/>
              <a:gd name="connsiteX22" fmla="*/ 6186 w 10000"/>
              <a:gd name="connsiteY22" fmla="*/ 3262 h 10000"/>
              <a:gd name="connsiteX23" fmla="*/ 6186 w 10000"/>
              <a:gd name="connsiteY23" fmla="*/ 3262 h 10000"/>
              <a:gd name="connsiteX24" fmla="*/ 9526 w 10000"/>
              <a:gd name="connsiteY24" fmla="*/ 314 h 10000"/>
              <a:gd name="connsiteX25" fmla="*/ 9632 w 10000"/>
              <a:gd name="connsiteY25" fmla="*/ 202 h 10000"/>
              <a:gd name="connsiteX26" fmla="*/ 10000 w 10000"/>
              <a:gd name="connsiteY26" fmla="*/ 935 h 10000"/>
              <a:gd name="connsiteX27" fmla="*/ 8083 w 10000"/>
              <a:gd name="connsiteY27" fmla="*/ 2772 h 10000"/>
              <a:gd name="connsiteX28" fmla="*/ 7082 w 10000"/>
              <a:gd name="connsiteY28" fmla="*/ 3802 h 10000"/>
              <a:gd name="connsiteX29" fmla="*/ 7082 w 10000"/>
              <a:gd name="connsiteY29" fmla="*/ 3802 h 10000"/>
              <a:gd name="connsiteX30" fmla="*/ 9147 w 10000"/>
              <a:gd name="connsiteY30" fmla="*/ 3341 h 10000"/>
              <a:gd name="connsiteX31" fmla="*/ 9105 w 10000"/>
              <a:gd name="connsiteY31" fmla="*/ 3892 h 10000"/>
              <a:gd name="connsiteX32" fmla="*/ 7503 w 10000"/>
              <a:gd name="connsiteY32" fmla="*/ 4459 h 10000"/>
              <a:gd name="connsiteX33" fmla="*/ 6391 w 10000"/>
              <a:gd name="connsiteY33" fmla="*/ 6058 h 10000"/>
              <a:gd name="connsiteX34" fmla="*/ 6391 w 10000"/>
              <a:gd name="connsiteY34" fmla="*/ 6772 h 10000"/>
              <a:gd name="connsiteX35" fmla="*/ 7571 w 10000"/>
              <a:gd name="connsiteY35" fmla="*/ 9269 h 10000"/>
              <a:gd name="connsiteX36" fmla="*/ 8493 w 10000"/>
              <a:gd name="connsiteY36" fmla="*/ 10000 h 10000"/>
              <a:gd name="connsiteX37" fmla="*/ 1676 w 10000"/>
              <a:gd name="connsiteY37" fmla="*/ 10000 h 10000"/>
              <a:gd name="connsiteX0" fmla="*/ 1676 w 10000"/>
              <a:gd name="connsiteY0" fmla="*/ 10000 h 10000"/>
              <a:gd name="connsiteX1" fmla="*/ 2735 w 10000"/>
              <a:gd name="connsiteY1" fmla="*/ 9235 h 10000"/>
              <a:gd name="connsiteX2" fmla="*/ 3815 w 10000"/>
              <a:gd name="connsiteY2" fmla="*/ 7165 h 10000"/>
              <a:gd name="connsiteX3" fmla="*/ 3841 w 10000"/>
              <a:gd name="connsiteY3" fmla="*/ 6417 h 10000"/>
              <a:gd name="connsiteX4" fmla="*/ 2550 w 10000"/>
              <a:gd name="connsiteY4" fmla="*/ 3453 h 10000"/>
              <a:gd name="connsiteX5" fmla="*/ 0 w 10000"/>
              <a:gd name="connsiteY5" fmla="*/ 2419 h 10000"/>
              <a:gd name="connsiteX6" fmla="*/ 137 w 10000"/>
              <a:gd name="connsiteY6" fmla="*/ 1693 h 10000"/>
              <a:gd name="connsiteX7" fmla="*/ 2592 w 10000"/>
              <a:gd name="connsiteY7" fmla="*/ 2689 h 10000"/>
              <a:gd name="connsiteX8" fmla="*/ 3572 w 10000"/>
              <a:gd name="connsiteY8" fmla="*/ 2919 h 10000"/>
              <a:gd name="connsiteX9" fmla="*/ 3572 w 10000"/>
              <a:gd name="connsiteY9" fmla="*/ 2919 h 10000"/>
              <a:gd name="connsiteX10" fmla="*/ 4221 w 10000"/>
              <a:gd name="connsiteY10" fmla="*/ 3161 h 10000"/>
              <a:gd name="connsiteX11" fmla="*/ 4221 w 10000"/>
              <a:gd name="connsiteY11" fmla="*/ 3161 h 10000"/>
              <a:gd name="connsiteX12" fmla="*/ 4510 w 10000"/>
              <a:gd name="connsiteY12" fmla="*/ 2772 h 10000"/>
              <a:gd name="connsiteX13" fmla="*/ 4710 w 10000"/>
              <a:gd name="connsiteY13" fmla="*/ 23 h 10000"/>
              <a:gd name="connsiteX14" fmla="*/ 5353 w 10000"/>
              <a:gd name="connsiteY14" fmla="*/ 0 h 10000"/>
              <a:gd name="connsiteX15" fmla="*/ 5390 w 10000"/>
              <a:gd name="connsiteY15" fmla="*/ 906 h 10000"/>
              <a:gd name="connsiteX16" fmla="*/ 5674 w 10000"/>
              <a:gd name="connsiteY16" fmla="*/ 2453 h 10000"/>
              <a:gd name="connsiteX17" fmla="*/ 5674 w 10000"/>
              <a:gd name="connsiteY17" fmla="*/ 2453 h 10000"/>
              <a:gd name="connsiteX18" fmla="*/ 5674 w 10000"/>
              <a:gd name="connsiteY18" fmla="*/ 2739 h 10000"/>
              <a:gd name="connsiteX19" fmla="*/ 5674 w 10000"/>
              <a:gd name="connsiteY19" fmla="*/ 2846 h 10000"/>
              <a:gd name="connsiteX20" fmla="*/ 5996 w 10000"/>
              <a:gd name="connsiteY20" fmla="*/ 3331 h 10000"/>
              <a:gd name="connsiteX21" fmla="*/ 6186 w 10000"/>
              <a:gd name="connsiteY21" fmla="*/ 3262 h 10000"/>
              <a:gd name="connsiteX22" fmla="*/ 6186 w 10000"/>
              <a:gd name="connsiteY22" fmla="*/ 3262 h 10000"/>
              <a:gd name="connsiteX23" fmla="*/ 9526 w 10000"/>
              <a:gd name="connsiteY23" fmla="*/ 314 h 10000"/>
              <a:gd name="connsiteX24" fmla="*/ 9632 w 10000"/>
              <a:gd name="connsiteY24" fmla="*/ 202 h 10000"/>
              <a:gd name="connsiteX25" fmla="*/ 10000 w 10000"/>
              <a:gd name="connsiteY25" fmla="*/ 935 h 10000"/>
              <a:gd name="connsiteX26" fmla="*/ 8083 w 10000"/>
              <a:gd name="connsiteY26" fmla="*/ 2772 h 10000"/>
              <a:gd name="connsiteX27" fmla="*/ 7082 w 10000"/>
              <a:gd name="connsiteY27" fmla="*/ 3802 h 10000"/>
              <a:gd name="connsiteX28" fmla="*/ 7082 w 10000"/>
              <a:gd name="connsiteY28" fmla="*/ 3802 h 10000"/>
              <a:gd name="connsiteX29" fmla="*/ 9147 w 10000"/>
              <a:gd name="connsiteY29" fmla="*/ 3341 h 10000"/>
              <a:gd name="connsiteX30" fmla="*/ 9105 w 10000"/>
              <a:gd name="connsiteY30" fmla="*/ 3892 h 10000"/>
              <a:gd name="connsiteX31" fmla="*/ 7503 w 10000"/>
              <a:gd name="connsiteY31" fmla="*/ 4459 h 10000"/>
              <a:gd name="connsiteX32" fmla="*/ 6391 w 10000"/>
              <a:gd name="connsiteY32" fmla="*/ 6058 h 10000"/>
              <a:gd name="connsiteX33" fmla="*/ 6391 w 10000"/>
              <a:gd name="connsiteY33" fmla="*/ 6772 h 10000"/>
              <a:gd name="connsiteX34" fmla="*/ 7571 w 10000"/>
              <a:gd name="connsiteY34" fmla="*/ 9269 h 10000"/>
              <a:gd name="connsiteX35" fmla="*/ 8493 w 10000"/>
              <a:gd name="connsiteY35" fmla="*/ 10000 h 10000"/>
              <a:gd name="connsiteX36" fmla="*/ 1676 w 10000"/>
              <a:gd name="connsiteY36" fmla="*/ 10000 h 10000"/>
              <a:gd name="connsiteX0" fmla="*/ 1676 w 10000"/>
              <a:gd name="connsiteY0" fmla="*/ 10000 h 10000"/>
              <a:gd name="connsiteX1" fmla="*/ 2735 w 10000"/>
              <a:gd name="connsiteY1" fmla="*/ 9235 h 10000"/>
              <a:gd name="connsiteX2" fmla="*/ 3815 w 10000"/>
              <a:gd name="connsiteY2" fmla="*/ 7165 h 10000"/>
              <a:gd name="connsiteX3" fmla="*/ 3841 w 10000"/>
              <a:gd name="connsiteY3" fmla="*/ 6417 h 10000"/>
              <a:gd name="connsiteX4" fmla="*/ 2550 w 10000"/>
              <a:gd name="connsiteY4" fmla="*/ 3453 h 10000"/>
              <a:gd name="connsiteX5" fmla="*/ 0 w 10000"/>
              <a:gd name="connsiteY5" fmla="*/ 2419 h 10000"/>
              <a:gd name="connsiteX6" fmla="*/ 137 w 10000"/>
              <a:gd name="connsiteY6" fmla="*/ 1693 h 10000"/>
              <a:gd name="connsiteX7" fmla="*/ 2592 w 10000"/>
              <a:gd name="connsiteY7" fmla="*/ 2689 h 10000"/>
              <a:gd name="connsiteX8" fmla="*/ 3572 w 10000"/>
              <a:gd name="connsiteY8" fmla="*/ 2919 h 10000"/>
              <a:gd name="connsiteX9" fmla="*/ 3572 w 10000"/>
              <a:gd name="connsiteY9" fmla="*/ 2919 h 10000"/>
              <a:gd name="connsiteX10" fmla="*/ 4221 w 10000"/>
              <a:gd name="connsiteY10" fmla="*/ 3161 h 10000"/>
              <a:gd name="connsiteX11" fmla="*/ 4221 w 10000"/>
              <a:gd name="connsiteY11" fmla="*/ 3161 h 10000"/>
              <a:gd name="connsiteX12" fmla="*/ 4510 w 10000"/>
              <a:gd name="connsiteY12" fmla="*/ 2772 h 10000"/>
              <a:gd name="connsiteX13" fmla="*/ 4710 w 10000"/>
              <a:gd name="connsiteY13" fmla="*/ 23 h 10000"/>
              <a:gd name="connsiteX14" fmla="*/ 5353 w 10000"/>
              <a:gd name="connsiteY14" fmla="*/ 0 h 10000"/>
              <a:gd name="connsiteX15" fmla="*/ 5390 w 10000"/>
              <a:gd name="connsiteY15" fmla="*/ 906 h 10000"/>
              <a:gd name="connsiteX16" fmla="*/ 5674 w 10000"/>
              <a:gd name="connsiteY16" fmla="*/ 2453 h 10000"/>
              <a:gd name="connsiteX17" fmla="*/ 5418 w 10000"/>
              <a:gd name="connsiteY17" fmla="*/ 2453 h 10000"/>
              <a:gd name="connsiteX18" fmla="*/ 5674 w 10000"/>
              <a:gd name="connsiteY18" fmla="*/ 2739 h 10000"/>
              <a:gd name="connsiteX19" fmla="*/ 5674 w 10000"/>
              <a:gd name="connsiteY19" fmla="*/ 2846 h 10000"/>
              <a:gd name="connsiteX20" fmla="*/ 5996 w 10000"/>
              <a:gd name="connsiteY20" fmla="*/ 3331 h 10000"/>
              <a:gd name="connsiteX21" fmla="*/ 6186 w 10000"/>
              <a:gd name="connsiteY21" fmla="*/ 3262 h 10000"/>
              <a:gd name="connsiteX22" fmla="*/ 6186 w 10000"/>
              <a:gd name="connsiteY22" fmla="*/ 3262 h 10000"/>
              <a:gd name="connsiteX23" fmla="*/ 9526 w 10000"/>
              <a:gd name="connsiteY23" fmla="*/ 314 h 10000"/>
              <a:gd name="connsiteX24" fmla="*/ 9632 w 10000"/>
              <a:gd name="connsiteY24" fmla="*/ 202 h 10000"/>
              <a:gd name="connsiteX25" fmla="*/ 10000 w 10000"/>
              <a:gd name="connsiteY25" fmla="*/ 935 h 10000"/>
              <a:gd name="connsiteX26" fmla="*/ 8083 w 10000"/>
              <a:gd name="connsiteY26" fmla="*/ 2772 h 10000"/>
              <a:gd name="connsiteX27" fmla="*/ 7082 w 10000"/>
              <a:gd name="connsiteY27" fmla="*/ 3802 h 10000"/>
              <a:gd name="connsiteX28" fmla="*/ 7082 w 10000"/>
              <a:gd name="connsiteY28" fmla="*/ 3802 h 10000"/>
              <a:gd name="connsiteX29" fmla="*/ 9147 w 10000"/>
              <a:gd name="connsiteY29" fmla="*/ 3341 h 10000"/>
              <a:gd name="connsiteX30" fmla="*/ 9105 w 10000"/>
              <a:gd name="connsiteY30" fmla="*/ 3892 h 10000"/>
              <a:gd name="connsiteX31" fmla="*/ 7503 w 10000"/>
              <a:gd name="connsiteY31" fmla="*/ 4459 h 10000"/>
              <a:gd name="connsiteX32" fmla="*/ 6391 w 10000"/>
              <a:gd name="connsiteY32" fmla="*/ 6058 h 10000"/>
              <a:gd name="connsiteX33" fmla="*/ 6391 w 10000"/>
              <a:gd name="connsiteY33" fmla="*/ 6772 h 10000"/>
              <a:gd name="connsiteX34" fmla="*/ 7571 w 10000"/>
              <a:gd name="connsiteY34" fmla="*/ 9269 h 10000"/>
              <a:gd name="connsiteX35" fmla="*/ 8493 w 10000"/>
              <a:gd name="connsiteY35" fmla="*/ 10000 h 10000"/>
              <a:gd name="connsiteX36" fmla="*/ 1676 w 10000"/>
              <a:gd name="connsiteY36" fmla="*/ 10000 h 10000"/>
              <a:gd name="connsiteX0" fmla="*/ 1676 w 10000"/>
              <a:gd name="connsiteY0" fmla="*/ 10000 h 10000"/>
              <a:gd name="connsiteX1" fmla="*/ 2735 w 10000"/>
              <a:gd name="connsiteY1" fmla="*/ 9235 h 10000"/>
              <a:gd name="connsiteX2" fmla="*/ 3815 w 10000"/>
              <a:gd name="connsiteY2" fmla="*/ 7165 h 10000"/>
              <a:gd name="connsiteX3" fmla="*/ 3841 w 10000"/>
              <a:gd name="connsiteY3" fmla="*/ 6417 h 10000"/>
              <a:gd name="connsiteX4" fmla="*/ 2550 w 10000"/>
              <a:gd name="connsiteY4" fmla="*/ 3453 h 10000"/>
              <a:gd name="connsiteX5" fmla="*/ 0 w 10000"/>
              <a:gd name="connsiteY5" fmla="*/ 2419 h 10000"/>
              <a:gd name="connsiteX6" fmla="*/ 137 w 10000"/>
              <a:gd name="connsiteY6" fmla="*/ 1693 h 10000"/>
              <a:gd name="connsiteX7" fmla="*/ 2592 w 10000"/>
              <a:gd name="connsiteY7" fmla="*/ 2689 h 10000"/>
              <a:gd name="connsiteX8" fmla="*/ 3572 w 10000"/>
              <a:gd name="connsiteY8" fmla="*/ 2919 h 10000"/>
              <a:gd name="connsiteX9" fmla="*/ 3572 w 10000"/>
              <a:gd name="connsiteY9" fmla="*/ 2919 h 10000"/>
              <a:gd name="connsiteX10" fmla="*/ 4221 w 10000"/>
              <a:gd name="connsiteY10" fmla="*/ 3161 h 10000"/>
              <a:gd name="connsiteX11" fmla="*/ 4221 w 10000"/>
              <a:gd name="connsiteY11" fmla="*/ 3161 h 10000"/>
              <a:gd name="connsiteX12" fmla="*/ 4510 w 10000"/>
              <a:gd name="connsiteY12" fmla="*/ 2772 h 10000"/>
              <a:gd name="connsiteX13" fmla="*/ 4710 w 10000"/>
              <a:gd name="connsiteY13" fmla="*/ 23 h 10000"/>
              <a:gd name="connsiteX14" fmla="*/ 5353 w 10000"/>
              <a:gd name="connsiteY14" fmla="*/ 0 h 10000"/>
              <a:gd name="connsiteX15" fmla="*/ 5390 w 10000"/>
              <a:gd name="connsiteY15" fmla="*/ 906 h 10000"/>
              <a:gd name="connsiteX16" fmla="*/ 5674 w 10000"/>
              <a:gd name="connsiteY16" fmla="*/ 2453 h 10000"/>
              <a:gd name="connsiteX17" fmla="*/ 5316 w 10000"/>
              <a:gd name="connsiteY17" fmla="*/ 2398 h 10000"/>
              <a:gd name="connsiteX18" fmla="*/ 5674 w 10000"/>
              <a:gd name="connsiteY18" fmla="*/ 2739 h 10000"/>
              <a:gd name="connsiteX19" fmla="*/ 5674 w 10000"/>
              <a:gd name="connsiteY19" fmla="*/ 2846 h 10000"/>
              <a:gd name="connsiteX20" fmla="*/ 5996 w 10000"/>
              <a:gd name="connsiteY20" fmla="*/ 3331 h 10000"/>
              <a:gd name="connsiteX21" fmla="*/ 6186 w 10000"/>
              <a:gd name="connsiteY21" fmla="*/ 3262 h 10000"/>
              <a:gd name="connsiteX22" fmla="*/ 6186 w 10000"/>
              <a:gd name="connsiteY22" fmla="*/ 3262 h 10000"/>
              <a:gd name="connsiteX23" fmla="*/ 9526 w 10000"/>
              <a:gd name="connsiteY23" fmla="*/ 314 h 10000"/>
              <a:gd name="connsiteX24" fmla="*/ 9632 w 10000"/>
              <a:gd name="connsiteY24" fmla="*/ 202 h 10000"/>
              <a:gd name="connsiteX25" fmla="*/ 10000 w 10000"/>
              <a:gd name="connsiteY25" fmla="*/ 935 h 10000"/>
              <a:gd name="connsiteX26" fmla="*/ 8083 w 10000"/>
              <a:gd name="connsiteY26" fmla="*/ 2772 h 10000"/>
              <a:gd name="connsiteX27" fmla="*/ 7082 w 10000"/>
              <a:gd name="connsiteY27" fmla="*/ 3802 h 10000"/>
              <a:gd name="connsiteX28" fmla="*/ 7082 w 10000"/>
              <a:gd name="connsiteY28" fmla="*/ 3802 h 10000"/>
              <a:gd name="connsiteX29" fmla="*/ 9147 w 10000"/>
              <a:gd name="connsiteY29" fmla="*/ 3341 h 10000"/>
              <a:gd name="connsiteX30" fmla="*/ 9105 w 10000"/>
              <a:gd name="connsiteY30" fmla="*/ 3892 h 10000"/>
              <a:gd name="connsiteX31" fmla="*/ 7503 w 10000"/>
              <a:gd name="connsiteY31" fmla="*/ 4459 h 10000"/>
              <a:gd name="connsiteX32" fmla="*/ 6391 w 10000"/>
              <a:gd name="connsiteY32" fmla="*/ 6058 h 10000"/>
              <a:gd name="connsiteX33" fmla="*/ 6391 w 10000"/>
              <a:gd name="connsiteY33" fmla="*/ 6772 h 10000"/>
              <a:gd name="connsiteX34" fmla="*/ 7571 w 10000"/>
              <a:gd name="connsiteY34" fmla="*/ 9269 h 10000"/>
              <a:gd name="connsiteX35" fmla="*/ 8493 w 10000"/>
              <a:gd name="connsiteY35" fmla="*/ 10000 h 10000"/>
              <a:gd name="connsiteX36" fmla="*/ 1676 w 10000"/>
              <a:gd name="connsiteY36" fmla="*/ 10000 h 10000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674 w 10000"/>
              <a:gd name="connsiteY16" fmla="*/ 2514 h 10061"/>
              <a:gd name="connsiteX17" fmla="*/ 5316 w 10000"/>
              <a:gd name="connsiteY17" fmla="*/ 2459 h 10061"/>
              <a:gd name="connsiteX18" fmla="*/ 5674 w 10000"/>
              <a:gd name="connsiteY18" fmla="*/ 2800 h 10061"/>
              <a:gd name="connsiteX19" fmla="*/ 5674 w 10000"/>
              <a:gd name="connsiteY19" fmla="*/ 2907 h 10061"/>
              <a:gd name="connsiteX20" fmla="*/ 5996 w 10000"/>
              <a:gd name="connsiteY20" fmla="*/ 3392 h 10061"/>
              <a:gd name="connsiteX21" fmla="*/ 6186 w 10000"/>
              <a:gd name="connsiteY21" fmla="*/ 3323 h 10061"/>
              <a:gd name="connsiteX22" fmla="*/ 6186 w 10000"/>
              <a:gd name="connsiteY22" fmla="*/ 3323 h 10061"/>
              <a:gd name="connsiteX23" fmla="*/ 9526 w 10000"/>
              <a:gd name="connsiteY23" fmla="*/ 375 h 10061"/>
              <a:gd name="connsiteX24" fmla="*/ 9632 w 10000"/>
              <a:gd name="connsiteY24" fmla="*/ 263 h 10061"/>
              <a:gd name="connsiteX25" fmla="*/ 10000 w 10000"/>
              <a:gd name="connsiteY25" fmla="*/ 996 h 10061"/>
              <a:gd name="connsiteX26" fmla="*/ 8083 w 10000"/>
              <a:gd name="connsiteY26" fmla="*/ 2833 h 10061"/>
              <a:gd name="connsiteX27" fmla="*/ 7082 w 10000"/>
              <a:gd name="connsiteY27" fmla="*/ 3863 h 10061"/>
              <a:gd name="connsiteX28" fmla="*/ 7082 w 10000"/>
              <a:gd name="connsiteY28" fmla="*/ 3863 h 10061"/>
              <a:gd name="connsiteX29" fmla="*/ 9147 w 10000"/>
              <a:gd name="connsiteY29" fmla="*/ 3402 h 10061"/>
              <a:gd name="connsiteX30" fmla="*/ 9105 w 10000"/>
              <a:gd name="connsiteY30" fmla="*/ 3953 h 10061"/>
              <a:gd name="connsiteX31" fmla="*/ 7503 w 10000"/>
              <a:gd name="connsiteY31" fmla="*/ 4520 h 10061"/>
              <a:gd name="connsiteX32" fmla="*/ 6391 w 10000"/>
              <a:gd name="connsiteY32" fmla="*/ 6119 h 10061"/>
              <a:gd name="connsiteX33" fmla="*/ 6391 w 10000"/>
              <a:gd name="connsiteY33" fmla="*/ 6833 h 10061"/>
              <a:gd name="connsiteX34" fmla="*/ 7571 w 10000"/>
              <a:gd name="connsiteY34" fmla="*/ 9330 h 10061"/>
              <a:gd name="connsiteX35" fmla="*/ 8493 w 10000"/>
              <a:gd name="connsiteY35" fmla="*/ 10061 h 10061"/>
              <a:gd name="connsiteX36" fmla="*/ 1676 w 10000"/>
              <a:gd name="connsiteY36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674 w 10000"/>
              <a:gd name="connsiteY17" fmla="*/ 2800 h 10061"/>
              <a:gd name="connsiteX18" fmla="*/ 5674 w 10000"/>
              <a:gd name="connsiteY18" fmla="*/ 2907 h 10061"/>
              <a:gd name="connsiteX19" fmla="*/ 5996 w 10000"/>
              <a:gd name="connsiteY19" fmla="*/ 3392 h 10061"/>
              <a:gd name="connsiteX20" fmla="*/ 6186 w 10000"/>
              <a:gd name="connsiteY20" fmla="*/ 3323 h 10061"/>
              <a:gd name="connsiteX21" fmla="*/ 6186 w 10000"/>
              <a:gd name="connsiteY21" fmla="*/ 3323 h 10061"/>
              <a:gd name="connsiteX22" fmla="*/ 9526 w 10000"/>
              <a:gd name="connsiteY22" fmla="*/ 375 h 10061"/>
              <a:gd name="connsiteX23" fmla="*/ 9632 w 10000"/>
              <a:gd name="connsiteY23" fmla="*/ 263 h 10061"/>
              <a:gd name="connsiteX24" fmla="*/ 10000 w 10000"/>
              <a:gd name="connsiteY24" fmla="*/ 996 h 10061"/>
              <a:gd name="connsiteX25" fmla="*/ 8083 w 10000"/>
              <a:gd name="connsiteY25" fmla="*/ 2833 h 10061"/>
              <a:gd name="connsiteX26" fmla="*/ 7082 w 10000"/>
              <a:gd name="connsiteY26" fmla="*/ 3863 h 10061"/>
              <a:gd name="connsiteX27" fmla="*/ 7082 w 10000"/>
              <a:gd name="connsiteY27" fmla="*/ 3863 h 10061"/>
              <a:gd name="connsiteX28" fmla="*/ 9147 w 10000"/>
              <a:gd name="connsiteY28" fmla="*/ 3402 h 10061"/>
              <a:gd name="connsiteX29" fmla="*/ 9105 w 10000"/>
              <a:gd name="connsiteY29" fmla="*/ 3953 h 10061"/>
              <a:gd name="connsiteX30" fmla="*/ 7503 w 10000"/>
              <a:gd name="connsiteY30" fmla="*/ 4520 h 10061"/>
              <a:gd name="connsiteX31" fmla="*/ 6391 w 10000"/>
              <a:gd name="connsiteY31" fmla="*/ 6119 h 10061"/>
              <a:gd name="connsiteX32" fmla="*/ 6391 w 10000"/>
              <a:gd name="connsiteY32" fmla="*/ 6833 h 10061"/>
              <a:gd name="connsiteX33" fmla="*/ 7571 w 10000"/>
              <a:gd name="connsiteY33" fmla="*/ 9330 h 10061"/>
              <a:gd name="connsiteX34" fmla="*/ 8493 w 10000"/>
              <a:gd name="connsiteY34" fmla="*/ 10061 h 10061"/>
              <a:gd name="connsiteX35" fmla="*/ 1676 w 10000"/>
              <a:gd name="connsiteY35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674 w 10000"/>
              <a:gd name="connsiteY17" fmla="*/ 2800 h 10061"/>
              <a:gd name="connsiteX18" fmla="*/ 5996 w 10000"/>
              <a:gd name="connsiteY18" fmla="*/ 3392 h 10061"/>
              <a:gd name="connsiteX19" fmla="*/ 6186 w 10000"/>
              <a:gd name="connsiteY19" fmla="*/ 3323 h 10061"/>
              <a:gd name="connsiteX20" fmla="*/ 6186 w 10000"/>
              <a:gd name="connsiteY20" fmla="*/ 3323 h 10061"/>
              <a:gd name="connsiteX21" fmla="*/ 9526 w 10000"/>
              <a:gd name="connsiteY21" fmla="*/ 375 h 10061"/>
              <a:gd name="connsiteX22" fmla="*/ 9632 w 10000"/>
              <a:gd name="connsiteY22" fmla="*/ 263 h 10061"/>
              <a:gd name="connsiteX23" fmla="*/ 10000 w 10000"/>
              <a:gd name="connsiteY23" fmla="*/ 996 h 10061"/>
              <a:gd name="connsiteX24" fmla="*/ 8083 w 10000"/>
              <a:gd name="connsiteY24" fmla="*/ 2833 h 10061"/>
              <a:gd name="connsiteX25" fmla="*/ 7082 w 10000"/>
              <a:gd name="connsiteY25" fmla="*/ 3863 h 10061"/>
              <a:gd name="connsiteX26" fmla="*/ 7082 w 10000"/>
              <a:gd name="connsiteY26" fmla="*/ 3863 h 10061"/>
              <a:gd name="connsiteX27" fmla="*/ 9147 w 10000"/>
              <a:gd name="connsiteY27" fmla="*/ 3402 h 10061"/>
              <a:gd name="connsiteX28" fmla="*/ 9105 w 10000"/>
              <a:gd name="connsiteY28" fmla="*/ 3953 h 10061"/>
              <a:gd name="connsiteX29" fmla="*/ 7503 w 10000"/>
              <a:gd name="connsiteY29" fmla="*/ 4520 h 10061"/>
              <a:gd name="connsiteX30" fmla="*/ 6391 w 10000"/>
              <a:gd name="connsiteY30" fmla="*/ 6119 h 10061"/>
              <a:gd name="connsiteX31" fmla="*/ 6391 w 10000"/>
              <a:gd name="connsiteY31" fmla="*/ 6833 h 10061"/>
              <a:gd name="connsiteX32" fmla="*/ 7571 w 10000"/>
              <a:gd name="connsiteY32" fmla="*/ 9330 h 10061"/>
              <a:gd name="connsiteX33" fmla="*/ 8493 w 10000"/>
              <a:gd name="connsiteY33" fmla="*/ 10061 h 10061"/>
              <a:gd name="connsiteX34" fmla="*/ 1676 w 10000"/>
              <a:gd name="connsiteY34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7082 w 10000"/>
              <a:gd name="connsiteY25" fmla="*/ 3863 h 10061"/>
              <a:gd name="connsiteX26" fmla="*/ 9147 w 10000"/>
              <a:gd name="connsiteY26" fmla="*/ 3402 h 10061"/>
              <a:gd name="connsiteX27" fmla="*/ 9105 w 10000"/>
              <a:gd name="connsiteY27" fmla="*/ 3953 h 10061"/>
              <a:gd name="connsiteX28" fmla="*/ 7503 w 10000"/>
              <a:gd name="connsiteY28" fmla="*/ 4520 h 10061"/>
              <a:gd name="connsiteX29" fmla="*/ 6391 w 10000"/>
              <a:gd name="connsiteY29" fmla="*/ 6119 h 10061"/>
              <a:gd name="connsiteX30" fmla="*/ 6391 w 10000"/>
              <a:gd name="connsiteY30" fmla="*/ 6833 h 10061"/>
              <a:gd name="connsiteX31" fmla="*/ 7571 w 10000"/>
              <a:gd name="connsiteY31" fmla="*/ 9330 h 10061"/>
              <a:gd name="connsiteX32" fmla="*/ 8493 w 10000"/>
              <a:gd name="connsiteY32" fmla="*/ 10061 h 10061"/>
              <a:gd name="connsiteX33" fmla="*/ 1676 w 10000"/>
              <a:gd name="connsiteY33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7082 w 10000"/>
              <a:gd name="connsiteY25" fmla="*/ 3863 h 10061"/>
              <a:gd name="connsiteX26" fmla="*/ 9147 w 10000"/>
              <a:gd name="connsiteY26" fmla="*/ 3402 h 10061"/>
              <a:gd name="connsiteX27" fmla="*/ 7503 w 10000"/>
              <a:gd name="connsiteY27" fmla="*/ 4520 h 10061"/>
              <a:gd name="connsiteX28" fmla="*/ 6391 w 10000"/>
              <a:gd name="connsiteY28" fmla="*/ 6119 h 10061"/>
              <a:gd name="connsiteX29" fmla="*/ 6391 w 10000"/>
              <a:gd name="connsiteY29" fmla="*/ 6833 h 10061"/>
              <a:gd name="connsiteX30" fmla="*/ 7571 w 10000"/>
              <a:gd name="connsiteY30" fmla="*/ 9330 h 10061"/>
              <a:gd name="connsiteX31" fmla="*/ 8493 w 10000"/>
              <a:gd name="connsiteY31" fmla="*/ 10061 h 10061"/>
              <a:gd name="connsiteX32" fmla="*/ 1676 w 10000"/>
              <a:gd name="connsiteY32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7082 w 10000"/>
              <a:gd name="connsiteY25" fmla="*/ 3863 h 10061"/>
              <a:gd name="connsiteX26" fmla="*/ 7503 w 10000"/>
              <a:gd name="connsiteY26" fmla="*/ 4520 h 10061"/>
              <a:gd name="connsiteX27" fmla="*/ 6391 w 10000"/>
              <a:gd name="connsiteY27" fmla="*/ 6119 h 10061"/>
              <a:gd name="connsiteX28" fmla="*/ 6391 w 10000"/>
              <a:gd name="connsiteY28" fmla="*/ 6833 h 10061"/>
              <a:gd name="connsiteX29" fmla="*/ 7571 w 10000"/>
              <a:gd name="connsiteY29" fmla="*/ 9330 h 10061"/>
              <a:gd name="connsiteX30" fmla="*/ 8493 w 10000"/>
              <a:gd name="connsiteY30" fmla="*/ 10061 h 10061"/>
              <a:gd name="connsiteX31" fmla="*/ 1676 w 10000"/>
              <a:gd name="connsiteY31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7082 w 10000"/>
              <a:gd name="connsiteY25" fmla="*/ 3863 h 10061"/>
              <a:gd name="connsiteX26" fmla="*/ 6391 w 10000"/>
              <a:gd name="connsiteY26" fmla="*/ 6119 h 10061"/>
              <a:gd name="connsiteX27" fmla="*/ 6391 w 10000"/>
              <a:gd name="connsiteY27" fmla="*/ 6833 h 10061"/>
              <a:gd name="connsiteX28" fmla="*/ 7571 w 10000"/>
              <a:gd name="connsiteY28" fmla="*/ 9330 h 10061"/>
              <a:gd name="connsiteX29" fmla="*/ 8493 w 10000"/>
              <a:gd name="connsiteY29" fmla="*/ 10061 h 10061"/>
              <a:gd name="connsiteX30" fmla="*/ 1676 w 10000"/>
              <a:gd name="connsiteY30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7082 w 10000"/>
              <a:gd name="connsiteY25" fmla="*/ 3863 h 10061"/>
              <a:gd name="connsiteX26" fmla="*/ 6391 w 10000"/>
              <a:gd name="connsiteY26" fmla="*/ 6119 h 10061"/>
              <a:gd name="connsiteX27" fmla="*/ 6391 w 10000"/>
              <a:gd name="connsiteY27" fmla="*/ 6833 h 10061"/>
              <a:gd name="connsiteX28" fmla="*/ 7571 w 10000"/>
              <a:gd name="connsiteY28" fmla="*/ 9330 h 10061"/>
              <a:gd name="connsiteX29" fmla="*/ 8493 w 10000"/>
              <a:gd name="connsiteY29" fmla="*/ 10061 h 10061"/>
              <a:gd name="connsiteX30" fmla="*/ 1676 w 10000"/>
              <a:gd name="connsiteY30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7082 w 10000"/>
              <a:gd name="connsiteY25" fmla="*/ 3863 h 10061"/>
              <a:gd name="connsiteX26" fmla="*/ 6391 w 10000"/>
              <a:gd name="connsiteY26" fmla="*/ 6119 h 10061"/>
              <a:gd name="connsiteX27" fmla="*/ 6391 w 10000"/>
              <a:gd name="connsiteY27" fmla="*/ 6833 h 10061"/>
              <a:gd name="connsiteX28" fmla="*/ 7571 w 10000"/>
              <a:gd name="connsiteY28" fmla="*/ 9330 h 10061"/>
              <a:gd name="connsiteX29" fmla="*/ 8493 w 10000"/>
              <a:gd name="connsiteY29" fmla="*/ 10061 h 10061"/>
              <a:gd name="connsiteX30" fmla="*/ 1676 w 10000"/>
              <a:gd name="connsiteY30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7082 w 10000"/>
              <a:gd name="connsiteY25" fmla="*/ 3863 h 10061"/>
              <a:gd name="connsiteX26" fmla="*/ 6391 w 10000"/>
              <a:gd name="connsiteY26" fmla="*/ 6119 h 10061"/>
              <a:gd name="connsiteX27" fmla="*/ 6391 w 10000"/>
              <a:gd name="connsiteY27" fmla="*/ 6833 h 10061"/>
              <a:gd name="connsiteX28" fmla="*/ 7571 w 10000"/>
              <a:gd name="connsiteY28" fmla="*/ 9330 h 10061"/>
              <a:gd name="connsiteX29" fmla="*/ 8493 w 10000"/>
              <a:gd name="connsiteY29" fmla="*/ 10061 h 10061"/>
              <a:gd name="connsiteX30" fmla="*/ 1676 w 10000"/>
              <a:gd name="connsiteY30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7082 w 10000"/>
              <a:gd name="connsiteY25" fmla="*/ 3863 h 10061"/>
              <a:gd name="connsiteX26" fmla="*/ 6391 w 10000"/>
              <a:gd name="connsiteY26" fmla="*/ 6119 h 10061"/>
              <a:gd name="connsiteX27" fmla="*/ 6391 w 10000"/>
              <a:gd name="connsiteY27" fmla="*/ 6833 h 10061"/>
              <a:gd name="connsiteX28" fmla="*/ 7571 w 10000"/>
              <a:gd name="connsiteY28" fmla="*/ 9330 h 10061"/>
              <a:gd name="connsiteX29" fmla="*/ 8493 w 10000"/>
              <a:gd name="connsiteY29" fmla="*/ 10061 h 10061"/>
              <a:gd name="connsiteX30" fmla="*/ 1676 w 10000"/>
              <a:gd name="connsiteY30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7082 w 10000"/>
              <a:gd name="connsiteY25" fmla="*/ 3863 h 10061"/>
              <a:gd name="connsiteX26" fmla="*/ 6391 w 10000"/>
              <a:gd name="connsiteY26" fmla="*/ 6119 h 10061"/>
              <a:gd name="connsiteX27" fmla="*/ 6391 w 10000"/>
              <a:gd name="connsiteY27" fmla="*/ 6833 h 10061"/>
              <a:gd name="connsiteX28" fmla="*/ 7571 w 10000"/>
              <a:gd name="connsiteY28" fmla="*/ 9330 h 10061"/>
              <a:gd name="connsiteX29" fmla="*/ 8493 w 10000"/>
              <a:gd name="connsiteY29" fmla="*/ 10061 h 10061"/>
              <a:gd name="connsiteX30" fmla="*/ 1676 w 10000"/>
              <a:gd name="connsiteY30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7134 w 10000"/>
              <a:gd name="connsiteY25" fmla="*/ 4003 h 10061"/>
              <a:gd name="connsiteX26" fmla="*/ 6391 w 10000"/>
              <a:gd name="connsiteY26" fmla="*/ 6119 h 10061"/>
              <a:gd name="connsiteX27" fmla="*/ 6391 w 10000"/>
              <a:gd name="connsiteY27" fmla="*/ 6833 h 10061"/>
              <a:gd name="connsiteX28" fmla="*/ 7571 w 10000"/>
              <a:gd name="connsiteY28" fmla="*/ 9330 h 10061"/>
              <a:gd name="connsiteX29" fmla="*/ 8493 w 10000"/>
              <a:gd name="connsiteY29" fmla="*/ 10061 h 10061"/>
              <a:gd name="connsiteX30" fmla="*/ 1676 w 10000"/>
              <a:gd name="connsiteY30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6952 w 10000"/>
              <a:gd name="connsiteY25" fmla="*/ 4059 h 10061"/>
              <a:gd name="connsiteX26" fmla="*/ 6391 w 10000"/>
              <a:gd name="connsiteY26" fmla="*/ 6119 h 10061"/>
              <a:gd name="connsiteX27" fmla="*/ 6391 w 10000"/>
              <a:gd name="connsiteY27" fmla="*/ 6833 h 10061"/>
              <a:gd name="connsiteX28" fmla="*/ 7571 w 10000"/>
              <a:gd name="connsiteY28" fmla="*/ 9330 h 10061"/>
              <a:gd name="connsiteX29" fmla="*/ 8493 w 10000"/>
              <a:gd name="connsiteY29" fmla="*/ 10061 h 10061"/>
              <a:gd name="connsiteX30" fmla="*/ 1676 w 10000"/>
              <a:gd name="connsiteY30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6789 w 10000"/>
              <a:gd name="connsiteY25" fmla="*/ 4408 h 10061"/>
              <a:gd name="connsiteX26" fmla="*/ 6391 w 10000"/>
              <a:gd name="connsiteY26" fmla="*/ 6119 h 10061"/>
              <a:gd name="connsiteX27" fmla="*/ 6391 w 10000"/>
              <a:gd name="connsiteY27" fmla="*/ 6833 h 10061"/>
              <a:gd name="connsiteX28" fmla="*/ 7571 w 10000"/>
              <a:gd name="connsiteY28" fmla="*/ 9330 h 10061"/>
              <a:gd name="connsiteX29" fmla="*/ 8493 w 10000"/>
              <a:gd name="connsiteY29" fmla="*/ 10061 h 10061"/>
              <a:gd name="connsiteX30" fmla="*/ 1676 w 10000"/>
              <a:gd name="connsiteY30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6691 w 10000"/>
              <a:gd name="connsiteY25" fmla="*/ 4408 h 10061"/>
              <a:gd name="connsiteX26" fmla="*/ 6391 w 10000"/>
              <a:gd name="connsiteY26" fmla="*/ 6119 h 10061"/>
              <a:gd name="connsiteX27" fmla="*/ 6391 w 10000"/>
              <a:gd name="connsiteY27" fmla="*/ 6833 h 10061"/>
              <a:gd name="connsiteX28" fmla="*/ 7571 w 10000"/>
              <a:gd name="connsiteY28" fmla="*/ 9330 h 10061"/>
              <a:gd name="connsiteX29" fmla="*/ 8493 w 10000"/>
              <a:gd name="connsiteY29" fmla="*/ 10061 h 10061"/>
              <a:gd name="connsiteX30" fmla="*/ 1676 w 10000"/>
              <a:gd name="connsiteY30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6691 w 10000"/>
              <a:gd name="connsiteY25" fmla="*/ 4408 h 10061"/>
              <a:gd name="connsiteX26" fmla="*/ 6310 w 10000"/>
              <a:gd name="connsiteY26" fmla="*/ 6119 h 10061"/>
              <a:gd name="connsiteX27" fmla="*/ 6391 w 10000"/>
              <a:gd name="connsiteY27" fmla="*/ 6833 h 10061"/>
              <a:gd name="connsiteX28" fmla="*/ 7571 w 10000"/>
              <a:gd name="connsiteY28" fmla="*/ 9330 h 10061"/>
              <a:gd name="connsiteX29" fmla="*/ 8493 w 10000"/>
              <a:gd name="connsiteY29" fmla="*/ 10061 h 10061"/>
              <a:gd name="connsiteX30" fmla="*/ 1676 w 10000"/>
              <a:gd name="connsiteY30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6691 w 10000"/>
              <a:gd name="connsiteY25" fmla="*/ 4408 h 10061"/>
              <a:gd name="connsiteX26" fmla="*/ 6310 w 10000"/>
              <a:gd name="connsiteY26" fmla="*/ 6119 h 10061"/>
              <a:gd name="connsiteX27" fmla="*/ 6391 w 10000"/>
              <a:gd name="connsiteY27" fmla="*/ 6833 h 10061"/>
              <a:gd name="connsiteX28" fmla="*/ 7571 w 10000"/>
              <a:gd name="connsiteY28" fmla="*/ 9330 h 10061"/>
              <a:gd name="connsiteX29" fmla="*/ 8493 w 10000"/>
              <a:gd name="connsiteY29" fmla="*/ 10061 h 10061"/>
              <a:gd name="connsiteX30" fmla="*/ 1676 w 10000"/>
              <a:gd name="connsiteY30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6691 w 10000"/>
              <a:gd name="connsiteY25" fmla="*/ 4408 h 10061"/>
              <a:gd name="connsiteX26" fmla="*/ 6310 w 10000"/>
              <a:gd name="connsiteY26" fmla="*/ 6119 h 10061"/>
              <a:gd name="connsiteX27" fmla="*/ 6391 w 10000"/>
              <a:gd name="connsiteY27" fmla="*/ 6833 h 10061"/>
              <a:gd name="connsiteX28" fmla="*/ 7571 w 10000"/>
              <a:gd name="connsiteY28" fmla="*/ 9330 h 10061"/>
              <a:gd name="connsiteX29" fmla="*/ 8493 w 10000"/>
              <a:gd name="connsiteY29" fmla="*/ 10061 h 10061"/>
              <a:gd name="connsiteX30" fmla="*/ 1676 w 10000"/>
              <a:gd name="connsiteY30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6691 w 10000"/>
              <a:gd name="connsiteY25" fmla="*/ 4408 h 10061"/>
              <a:gd name="connsiteX26" fmla="*/ 6310 w 10000"/>
              <a:gd name="connsiteY26" fmla="*/ 6119 h 10061"/>
              <a:gd name="connsiteX27" fmla="*/ 6456 w 10000"/>
              <a:gd name="connsiteY27" fmla="*/ 6885 h 10061"/>
              <a:gd name="connsiteX28" fmla="*/ 7571 w 10000"/>
              <a:gd name="connsiteY28" fmla="*/ 9330 h 10061"/>
              <a:gd name="connsiteX29" fmla="*/ 8493 w 10000"/>
              <a:gd name="connsiteY29" fmla="*/ 10061 h 10061"/>
              <a:gd name="connsiteX30" fmla="*/ 1676 w 10000"/>
              <a:gd name="connsiteY30" fmla="*/ 10061 h 10061"/>
              <a:gd name="connsiteX0" fmla="*/ 1676 w 10000"/>
              <a:gd name="connsiteY0" fmla="*/ 10061 h 10061"/>
              <a:gd name="connsiteX1" fmla="*/ 2735 w 10000"/>
              <a:gd name="connsiteY1" fmla="*/ 9296 h 10061"/>
              <a:gd name="connsiteX2" fmla="*/ 3815 w 10000"/>
              <a:gd name="connsiteY2" fmla="*/ 7226 h 10061"/>
              <a:gd name="connsiteX3" fmla="*/ 3841 w 10000"/>
              <a:gd name="connsiteY3" fmla="*/ 6478 h 10061"/>
              <a:gd name="connsiteX4" fmla="*/ 2550 w 10000"/>
              <a:gd name="connsiteY4" fmla="*/ 3514 h 10061"/>
              <a:gd name="connsiteX5" fmla="*/ 0 w 10000"/>
              <a:gd name="connsiteY5" fmla="*/ 2480 h 10061"/>
              <a:gd name="connsiteX6" fmla="*/ 137 w 10000"/>
              <a:gd name="connsiteY6" fmla="*/ 1754 h 10061"/>
              <a:gd name="connsiteX7" fmla="*/ 2592 w 10000"/>
              <a:gd name="connsiteY7" fmla="*/ 2750 h 10061"/>
              <a:gd name="connsiteX8" fmla="*/ 3572 w 10000"/>
              <a:gd name="connsiteY8" fmla="*/ 2980 h 10061"/>
              <a:gd name="connsiteX9" fmla="*/ 3572 w 10000"/>
              <a:gd name="connsiteY9" fmla="*/ 2980 h 10061"/>
              <a:gd name="connsiteX10" fmla="*/ 4221 w 10000"/>
              <a:gd name="connsiteY10" fmla="*/ 3222 h 10061"/>
              <a:gd name="connsiteX11" fmla="*/ 4221 w 10000"/>
              <a:gd name="connsiteY11" fmla="*/ 3222 h 10061"/>
              <a:gd name="connsiteX12" fmla="*/ 4510 w 10000"/>
              <a:gd name="connsiteY12" fmla="*/ 2833 h 10061"/>
              <a:gd name="connsiteX13" fmla="*/ 4710 w 10000"/>
              <a:gd name="connsiteY13" fmla="*/ 84 h 10061"/>
              <a:gd name="connsiteX14" fmla="*/ 5353 w 10000"/>
              <a:gd name="connsiteY14" fmla="*/ 61 h 10061"/>
              <a:gd name="connsiteX15" fmla="*/ 5185 w 10000"/>
              <a:gd name="connsiteY15" fmla="*/ 967 h 10061"/>
              <a:gd name="connsiteX16" fmla="*/ 5316 w 10000"/>
              <a:gd name="connsiteY16" fmla="*/ 2459 h 10061"/>
              <a:gd name="connsiteX17" fmla="*/ 5996 w 10000"/>
              <a:gd name="connsiteY17" fmla="*/ 3392 h 10061"/>
              <a:gd name="connsiteX18" fmla="*/ 6186 w 10000"/>
              <a:gd name="connsiteY18" fmla="*/ 3323 h 10061"/>
              <a:gd name="connsiteX19" fmla="*/ 6186 w 10000"/>
              <a:gd name="connsiteY19" fmla="*/ 3323 h 10061"/>
              <a:gd name="connsiteX20" fmla="*/ 9526 w 10000"/>
              <a:gd name="connsiteY20" fmla="*/ 375 h 10061"/>
              <a:gd name="connsiteX21" fmla="*/ 9632 w 10000"/>
              <a:gd name="connsiteY21" fmla="*/ 263 h 10061"/>
              <a:gd name="connsiteX22" fmla="*/ 10000 w 10000"/>
              <a:gd name="connsiteY22" fmla="*/ 996 h 10061"/>
              <a:gd name="connsiteX23" fmla="*/ 8083 w 10000"/>
              <a:gd name="connsiteY23" fmla="*/ 2833 h 10061"/>
              <a:gd name="connsiteX24" fmla="*/ 7082 w 10000"/>
              <a:gd name="connsiteY24" fmla="*/ 3863 h 10061"/>
              <a:gd name="connsiteX25" fmla="*/ 6691 w 10000"/>
              <a:gd name="connsiteY25" fmla="*/ 4408 h 10061"/>
              <a:gd name="connsiteX26" fmla="*/ 6310 w 10000"/>
              <a:gd name="connsiteY26" fmla="*/ 6119 h 10061"/>
              <a:gd name="connsiteX27" fmla="*/ 6456 w 10000"/>
              <a:gd name="connsiteY27" fmla="*/ 6885 h 10061"/>
              <a:gd name="connsiteX28" fmla="*/ 7571 w 10000"/>
              <a:gd name="connsiteY28" fmla="*/ 9330 h 10061"/>
              <a:gd name="connsiteX29" fmla="*/ 8493 w 10000"/>
              <a:gd name="connsiteY29" fmla="*/ 10061 h 10061"/>
              <a:gd name="connsiteX30" fmla="*/ 1676 w 10000"/>
              <a:gd name="connsiteY30" fmla="*/ 10061 h 10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0000" h="10061">
                <a:moveTo>
                  <a:pt x="1676" y="10061"/>
                </a:moveTo>
                <a:lnTo>
                  <a:pt x="2735" y="9296"/>
                </a:lnTo>
                <a:cubicBezTo>
                  <a:pt x="3383" y="8830"/>
                  <a:pt x="3783" y="8064"/>
                  <a:pt x="3815" y="7226"/>
                </a:cubicBezTo>
                <a:cubicBezTo>
                  <a:pt x="3824" y="6977"/>
                  <a:pt x="3832" y="6727"/>
                  <a:pt x="3841" y="6478"/>
                </a:cubicBezTo>
                <a:cubicBezTo>
                  <a:pt x="3915" y="4651"/>
                  <a:pt x="3383" y="3778"/>
                  <a:pt x="2550" y="3514"/>
                </a:cubicBezTo>
                <a:lnTo>
                  <a:pt x="0" y="2480"/>
                </a:lnTo>
                <a:cubicBezTo>
                  <a:pt x="46" y="2237"/>
                  <a:pt x="91" y="1996"/>
                  <a:pt x="137" y="1754"/>
                </a:cubicBezTo>
                <a:lnTo>
                  <a:pt x="2592" y="2750"/>
                </a:lnTo>
                <a:lnTo>
                  <a:pt x="3572" y="2980"/>
                </a:lnTo>
                <a:lnTo>
                  <a:pt x="3572" y="2980"/>
                </a:lnTo>
                <a:cubicBezTo>
                  <a:pt x="3736" y="3132"/>
                  <a:pt x="4131" y="3250"/>
                  <a:pt x="4221" y="3222"/>
                </a:cubicBezTo>
                <a:lnTo>
                  <a:pt x="4221" y="3222"/>
                </a:lnTo>
                <a:cubicBezTo>
                  <a:pt x="4384" y="3166"/>
                  <a:pt x="4500" y="3014"/>
                  <a:pt x="4510" y="2833"/>
                </a:cubicBezTo>
                <a:cubicBezTo>
                  <a:pt x="4577" y="1917"/>
                  <a:pt x="4643" y="1001"/>
                  <a:pt x="4710" y="84"/>
                </a:cubicBezTo>
                <a:cubicBezTo>
                  <a:pt x="4924" y="76"/>
                  <a:pt x="5274" y="-86"/>
                  <a:pt x="5353" y="61"/>
                </a:cubicBezTo>
                <a:cubicBezTo>
                  <a:pt x="5432" y="208"/>
                  <a:pt x="5164" y="640"/>
                  <a:pt x="5185" y="967"/>
                </a:cubicBezTo>
                <a:cubicBezTo>
                  <a:pt x="5179" y="1367"/>
                  <a:pt x="5181" y="2055"/>
                  <a:pt x="5316" y="2459"/>
                </a:cubicBezTo>
                <a:cubicBezTo>
                  <a:pt x="5451" y="2863"/>
                  <a:pt x="5851" y="3248"/>
                  <a:pt x="5996" y="3392"/>
                </a:cubicBezTo>
                <a:cubicBezTo>
                  <a:pt x="6065" y="3392"/>
                  <a:pt x="6133" y="3363"/>
                  <a:pt x="6186" y="3323"/>
                </a:cubicBezTo>
                <a:lnTo>
                  <a:pt x="6186" y="3323"/>
                </a:lnTo>
                <a:cubicBezTo>
                  <a:pt x="7366" y="2429"/>
                  <a:pt x="8483" y="1443"/>
                  <a:pt x="9526" y="375"/>
                </a:cubicBezTo>
                <a:cubicBezTo>
                  <a:pt x="9561" y="337"/>
                  <a:pt x="9597" y="301"/>
                  <a:pt x="9632" y="263"/>
                </a:cubicBezTo>
                <a:cubicBezTo>
                  <a:pt x="9632" y="263"/>
                  <a:pt x="10011" y="961"/>
                  <a:pt x="10000" y="996"/>
                </a:cubicBezTo>
                <a:cubicBezTo>
                  <a:pt x="9995" y="1016"/>
                  <a:pt x="8799" y="2153"/>
                  <a:pt x="8083" y="2833"/>
                </a:cubicBezTo>
                <a:cubicBezTo>
                  <a:pt x="7735" y="3161"/>
                  <a:pt x="7314" y="3601"/>
                  <a:pt x="7082" y="3863"/>
                </a:cubicBezTo>
                <a:cubicBezTo>
                  <a:pt x="6850" y="4125"/>
                  <a:pt x="6674" y="4361"/>
                  <a:pt x="6691" y="4408"/>
                </a:cubicBezTo>
                <a:cubicBezTo>
                  <a:pt x="6345" y="5536"/>
                  <a:pt x="6340" y="5739"/>
                  <a:pt x="6310" y="6119"/>
                </a:cubicBezTo>
                <a:cubicBezTo>
                  <a:pt x="6402" y="6357"/>
                  <a:pt x="6295" y="6350"/>
                  <a:pt x="6456" y="6885"/>
                </a:cubicBezTo>
                <a:cubicBezTo>
                  <a:pt x="6622" y="7435"/>
                  <a:pt x="6834" y="8739"/>
                  <a:pt x="7571" y="9330"/>
                </a:cubicBezTo>
                <a:lnTo>
                  <a:pt x="8493" y="10061"/>
                </a:lnTo>
                <a:lnTo>
                  <a:pt x="1676" y="10061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3175" cmpd="sng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8" name="Freeform 16">
            <a:extLst>
              <a:ext uri="{FF2B5EF4-FFF2-40B4-BE49-F238E27FC236}">
                <a16:creationId xmlns:a16="http://schemas.microsoft.com/office/drawing/2014/main" id="{1DED208D-CD8C-8CB0-8DC0-E1DF47BE9D89}"/>
              </a:ext>
            </a:extLst>
          </p:cNvPr>
          <p:cNvSpPr>
            <a:spLocks/>
          </p:cNvSpPr>
          <p:nvPr/>
        </p:nvSpPr>
        <p:spPr bwMode="auto">
          <a:xfrm>
            <a:off x="3085286" y="3306998"/>
            <a:ext cx="1123358" cy="674736"/>
          </a:xfrm>
          <a:custGeom>
            <a:avLst/>
            <a:gdLst>
              <a:gd name="T0" fmla="*/ 538 w 546"/>
              <a:gd name="T1" fmla="*/ 329 h 329"/>
              <a:gd name="T2" fmla="*/ 0 w 546"/>
              <a:gd name="T3" fmla="*/ 329 h 329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546" h="329">
                <a:moveTo>
                  <a:pt x="538" y="329"/>
                </a:moveTo>
                <a:cubicBezTo>
                  <a:pt x="546" y="319"/>
                  <a:pt x="269" y="0"/>
                  <a:pt x="0" y="329"/>
                </a:cubicBezTo>
              </a:path>
            </a:pathLst>
          </a:custGeom>
          <a:noFill/>
          <a:ln w="25400" cap="flat">
            <a:solidFill>
              <a:schemeClr val="accent1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Oval 6">
            <a:extLst>
              <a:ext uri="{FF2B5EF4-FFF2-40B4-BE49-F238E27FC236}">
                <a16:creationId xmlns:a16="http://schemas.microsoft.com/office/drawing/2014/main" id="{ECAD3746-3B01-ECD5-BB79-14EDEE5A7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7101" y="3526723"/>
            <a:ext cx="1726730" cy="1719834"/>
          </a:xfrm>
          <a:prstGeom prst="ellipse">
            <a:avLst/>
          </a:prstGeom>
          <a:solidFill>
            <a:schemeClr val="accent1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4B4E657-D14C-A9AD-5AC8-D2C56D567EAD}"/>
              </a:ext>
            </a:extLst>
          </p:cNvPr>
          <p:cNvSpPr txBox="1">
            <a:spLocks/>
          </p:cNvSpPr>
          <p:nvPr/>
        </p:nvSpPr>
        <p:spPr>
          <a:xfrm>
            <a:off x="1382436" y="3288182"/>
            <a:ext cx="1893193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solidFill>
                  <a:schemeClr val="accent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600" b="1" dirty="0">
                <a:solidFill>
                  <a:schemeClr val="accent1"/>
                </a:solidFill>
                <a:latin typeface="+mn-lt"/>
              </a:rPr>
              <a:t> </a:t>
            </a:r>
            <a:r>
              <a:rPr lang="en-IN" sz="1800" dirty="0">
                <a:solidFill>
                  <a:schemeClr val="accent1"/>
                </a:solidFill>
                <a:latin typeface="+mn-lt"/>
              </a:rPr>
              <a:t>TITLE</a:t>
            </a:r>
          </a:p>
        </p:txBody>
      </p:sp>
      <p:sp>
        <p:nvSpPr>
          <p:cNvPr id="11" name="Inhaltsplatzhalter 4">
            <a:extLst>
              <a:ext uri="{FF2B5EF4-FFF2-40B4-BE49-F238E27FC236}">
                <a16:creationId xmlns:a16="http://schemas.microsoft.com/office/drawing/2014/main" id="{CD7C0E8F-7F40-70D8-CD56-386744EC0A9A}"/>
              </a:ext>
            </a:extLst>
          </p:cNvPr>
          <p:cNvSpPr txBox="1">
            <a:spLocks/>
          </p:cNvSpPr>
          <p:nvPr/>
        </p:nvSpPr>
        <p:spPr>
          <a:xfrm>
            <a:off x="737825" y="3580093"/>
            <a:ext cx="2244176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7ECBF4C-9D23-90DF-2A87-8453FF76C28D}"/>
              </a:ext>
            </a:extLst>
          </p:cNvPr>
          <p:cNvGrpSpPr>
            <a:grpSpLocks noChangeAspect="1"/>
          </p:cNvGrpSpPr>
          <p:nvPr/>
        </p:nvGrpSpPr>
        <p:grpSpPr>
          <a:xfrm>
            <a:off x="4466050" y="4044442"/>
            <a:ext cx="428830" cy="684396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13" name="Freeform 21">
              <a:extLst>
                <a:ext uri="{FF2B5EF4-FFF2-40B4-BE49-F238E27FC236}">
                  <a16:creationId xmlns:a16="http://schemas.microsoft.com/office/drawing/2014/main" id="{BEF0DA76-64E0-D114-4C58-3483BAA1BE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14" name="Freeform 22">
              <a:extLst>
                <a:ext uri="{FF2B5EF4-FFF2-40B4-BE49-F238E27FC236}">
                  <a16:creationId xmlns:a16="http://schemas.microsoft.com/office/drawing/2014/main" id="{335D00B7-5C05-B51D-F20D-8F916AB7E9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sp>
        <p:nvSpPr>
          <p:cNvPr id="15" name="Freeform 17">
            <a:extLst>
              <a:ext uri="{FF2B5EF4-FFF2-40B4-BE49-F238E27FC236}">
                <a16:creationId xmlns:a16="http://schemas.microsoft.com/office/drawing/2014/main" id="{422D5152-FD04-7659-8F55-6AF79D9533A5}"/>
              </a:ext>
            </a:extLst>
          </p:cNvPr>
          <p:cNvSpPr>
            <a:spLocks/>
          </p:cNvSpPr>
          <p:nvPr/>
        </p:nvSpPr>
        <p:spPr bwMode="auto">
          <a:xfrm rot="21093162">
            <a:off x="6202634" y="2259297"/>
            <a:ext cx="754117" cy="607383"/>
          </a:xfrm>
          <a:custGeom>
            <a:avLst/>
            <a:gdLst>
              <a:gd name="T0" fmla="*/ 0 w 366"/>
              <a:gd name="T1" fmla="*/ 296 h 296"/>
              <a:gd name="T2" fmla="*/ 366 w 366"/>
              <a:gd name="T3" fmla="*/ 64 h 296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366" h="296">
                <a:moveTo>
                  <a:pt x="0" y="296"/>
                </a:moveTo>
                <a:cubicBezTo>
                  <a:pt x="0" y="296"/>
                  <a:pt x="110" y="0"/>
                  <a:pt x="366" y="64"/>
                </a:cubicBezTo>
              </a:path>
            </a:pathLst>
          </a:custGeom>
          <a:noFill/>
          <a:ln w="25400" cap="flat">
            <a:solidFill>
              <a:schemeClr val="accent2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Oval 8">
            <a:extLst>
              <a:ext uri="{FF2B5EF4-FFF2-40B4-BE49-F238E27FC236}">
                <a16:creationId xmlns:a16="http://schemas.microsoft.com/office/drawing/2014/main" id="{3927903A-455D-D1DE-25AD-54D08A4DE4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9272" y="2699884"/>
            <a:ext cx="1685140" cy="1678046"/>
          </a:xfrm>
          <a:prstGeom prst="ellipse">
            <a:avLst/>
          </a:prstGeom>
          <a:solidFill>
            <a:schemeClr val="accent2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A964106-CE16-1EA5-7F4E-972EB0F8669B}"/>
              </a:ext>
            </a:extLst>
          </p:cNvPr>
          <p:cNvGrpSpPr/>
          <p:nvPr/>
        </p:nvGrpSpPr>
        <p:grpSpPr>
          <a:xfrm>
            <a:off x="5986085" y="3319233"/>
            <a:ext cx="651514" cy="439348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DA46196E-51F2-7E3C-0C0B-CB5A3685B1F8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32548844-31DA-81EA-7755-9A71B085CFBF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538A6C42-7A5E-BA8E-D956-EC979412E39E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21" name="Freeform 18">
            <a:extLst>
              <a:ext uri="{FF2B5EF4-FFF2-40B4-BE49-F238E27FC236}">
                <a16:creationId xmlns:a16="http://schemas.microsoft.com/office/drawing/2014/main" id="{C92286DF-9C08-6781-F118-E5D48469EBF3}"/>
              </a:ext>
            </a:extLst>
          </p:cNvPr>
          <p:cNvSpPr>
            <a:spLocks/>
          </p:cNvSpPr>
          <p:nvPr/>
        </p:nvSpPr>
        <p:spPr bwMode="auto">
          <a:xfrm rot="426613">
            <a:off x="8209169" y="3292015"/>
            <a:ext cx="902054" cy="398107"/>
          </a:xfrm>
          <a:custGeom>
            <a:avLst/>
            <a:gdLst>
              <a:gd name="T0" fmla="*/ 0 w 438"/>
              <a:gd name="T1" fmla="*/ 194 h 194"/>
              <a:gd name="T2" fmla="*/ 438 w 438"/>
              <a:gd name="T3" fmla="*/ 194 h 194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438" h="194">
                <a:moveTo>
                  <a:pt x="0" y="194"/>
                </a:moveTo>
                <a:cubicBezTo>
                  <a:pt x="0" y="194"/>
                  <a:pt x="222" y="0"/>
                  <a:pt x="438" y="194"/>
                </a:cubicBez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Oval 9">
            <a:extLst>
              <a:ext uri="{FF2B5EF4-FFF2-40B4-BE49-F238E27FC236}">
                <a16:creationId xmlns:a16="http://schemas.microsoft.com/office/drawing/2014/main" id="{CB53478E-BD46-DDE7-F111-DDE4E89E5C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3264" y="3065108"/>
            <a:ext cx="1424388" cy="1419066"/>
          </a:xfrm>
          <a:prstGeom prst="ellipse">
            <a:avLst/>
          </a:prstGeom>
          <a:solidFill>
            <a:schemeClr val="accent3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95EBC2B-6CB1-1B2A-432C-6703F23C8784}"/>
              </a:ext>
            </a:extLst>
          </p:cNvPr>
          <p:cNvSpPr txBox="1">
            <a:spLocks/>
          </p:cNvSpPr>
          <p:nvPr/>
        </p:nvSpPr>
        <p:spPr>
          <a:xfrm>
            <a:off x="9077949" y="3274921"/>
            <a:ext cx="1916365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solidFill>
                  <a:schemeClr val="accent3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600" b="1" dirty="0">
                <a:solidFill>
                  <a:schemeClr val="accent3"/>
                </a:solidFill>
                <a:latin typeface="+mn-lt"/>
              </a:rPr>
              <a:t> </a:t>
            </a:r>
            <a:r>
              <a:rPr lang="en-IN" sz="1800" dirty="0">
                <a:solidFill>
                  <a:schemeClr val="accent3"/>
                </a:solidFill>
                <a:latin typeface="+mn-lt"/>
              </a:rPr>
              <a:t>TITLE</a:t>
            </a:r>
          </a:p>
        </p:txBody>
      </p:sp>
      <p:sp>
        <p:nvSpPr>
          <p:cNvPr id="24" name="Inhaltsplatzhalter 4">
            <a:extLst>
              <a:ext uri="{FF2B5EF4-FFF2-40B4-BE49-F238E27FC236}">
                <a16:creationId xmlns:a16="http://schemas.microsoft.com/office/drawing/2014/main" id="{60CBD751-760F-AB29-5BDC-863178168DC3}"/>
              </a:ext>
            </a:extLst>
          </p:cNvPr>
          <p:cNvSpPr txBox="1">
            <a:spLocks/>
          </p:cNvSpPr>
          <p:nvPr/>
        </p:nvSpPr>
        <p:spPr>
          <a:xfrm>
            <a:off x="9352234" y="3595499"/>
            <a:ext cx="2200713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20A5F05-F8D7-3CA0-83E0-2129227826B4}"/>
              </a:ext>
            </a:extLst>
          </p:cNvPr>
          <p:cNvGrpSpPr>
            <a:grpSpLocks noChangeAspect="1"/>
          </p:cNvGrpSpPr>
          <p:nvPr/>
        </p:nvGrpSpPr>
        <p:grpSpPr>
          <a:xfrm>
            <a:off x="7690504" y="3574380"/>
            <a:ext cx="434548" cy="413626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26" name="Freeform 26">
              <a:extLst>
                <a:ext uri="{FF2B5EF4-FFF2-40B4-BE49-F238E27FC236}">
                  <a16:creationId xmlns:a16="http://schemas.microsoft.com/office/drawing/2014/main" id="{BF7F1D5F-94AA-8470-AD3B-C4731A7109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7" name="Freeform 27">
              <a:extLst>
                <a:ext uri="{FF2B5EF4-FFF2-40B4-BE49-F238E27FC236}">
                  <a16:creationId xmlns:a16="http://schemas.microsoft.com/office/drawing/2014/main" id="{E36B14FA-8CEE-5366-004A-9059A68965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8" name="Freeform 28">
              <a:extLst>
                <a:ext uri="{FF2B5EF4-FFF2-40B4-BE49-F238E27FC236}">
                  <a16:creationId xmlns:a16="http://schemas.microsoft.com/office/drawing/2014/main" id="{AAC1E127-0A58-6675-38CB-74105A3D1F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9" name="Freeform 29">
              <a:extLst>
                <a:ext uri="{FF2B5EF4-FFF2-40B4-BE49-F238E27FC236}">
                  <a16:creationId xmlns:a16="http://schemas.microsoft.com/office/drawing/2014/main" id="{5DC6727E-B2EB-2E89-19C7-0939B9539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0" name="Freeform 30">
              <a:extLst>
                <a:ext uri="{FF2B5EF4-FFF2-40B4-BE49-F238E27FC236}">
                  <a16:creationId xmlns:a16="http://schemas.microsoft.com/office/drawing/2014/main" id="{5D9A5B9B-2616-8DCB-E352-6E1C52CB7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1" name="Freeform 31">
              <a:extLst>
                <a:ext uri="{FF2B5EF4-FFF2-40B4-BE49-F238E27FC236}">
                  <a16:creationId xmlns:a16="http://schemas.microsoft.com/office/drawing/2014/main" id="{44F37E01-6B0A-2CC1-2BE6-8DDC260A3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82138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1</TotalTime>
  <Words>75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Lato Light</vt:lpstr>
      <vt:lpstr>Wingdings</vt:lpstr>
      <vt:lpstr>Office Theme</vt:lpstr>
      <vt:lpstr>think-cell Slide</vt:lpstr>
      <vt:lpstr>Tree infographic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37</cp:revision>
  <dcterms:created xsi:type="dcterms:W3CDTF">2021-03-31T02:49:57Z</dcterms:created>
  <dcterms:modified xsi:type="dcterms:W3CDTF">2025-10-15T08:24:56Z</dcterms:modified>
  <cp:category/>
</cp:coreProperties>
</file>